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drawings/drawing1.xml" ContentType="application/vnd.openxmlformats-officedocument.drawingml.chartshapes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2" r:id="rId2"/>
    <p:sldMasterId id="2147483681" r:id="rId3"/>
  </p:sldMasterIdLst>
  <p:notesMasterIdLst>
    <p:notesMasterId r:id="rId24"/>
  </p:notesMasterIdLst>
  <p:sldIdLst>
    <p:sldId id="2147470302" r:id="rId4"/>
    <p:sldId id="2147483141" r:id="rId5"/>
    <p:sldId id="2147483143" r:id="rId6"/>
    <p:sldId id="2147483142" r:id="rId7"/>
    <p:sldId id="2147483145" r:id="rId8"/>
    <p:sldId id="2147483144" r:id="rId9"/>
    <p:sldId id="2147483146" r:id="rId10"/>
    <p:sldId id="2147483270" r:id="rId11"/>
    <p:sldId id="2147483148" r:id="rId12"/>
    <p:sldId id="2147483149" r:id="rId13"/>
    <p:sldId id="2147480402" r:id="rId14"/>
    <p:sldId id="2147483151" r:id="rId15"/>
    <p:sldId id="2147483152" r:id="rId16"/>
    <p:sldId id="2147483153" r:id="rId17"/>
    <p:sldId id="2147483155" r:id="rId18"/>
    <p:sldId id="2147483154" r:id="rId19"/>
    <p:sldId id="2147483157" r:id="rId20"/>
    <p:sldId id="2147483271" r:id="rId21"/>
    <p:sldId id="2147483160" r:id="rId22"/>
    <p:sldId id="2147483139" r:id="rId2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C345B"/>
    <a:srgbClr val="85BBB6"/>
    <a:srgbClr val="000066"/>
    <a:srgbClr val="99FFCC"/>
    <a:srgbClr val="6FDCB8"/>
    <a:srgbClr val="A2DBA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191" autoAdjust="0"/>
    <p:restoredTop sz="94014"/>
  </p:normalViewPr>
  <p:slideViewPr>
    <p:cSldViewPr snapToGrid="0">
      <p:cViewPr>
        <p:scale>
          <a:sx n="75" d="100"/>
          <a:sy n="75" d="100"/>
        </p:scale>
        <p:origin x="1152" y="10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tableStyles" Target="tableStyle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Inspeksi%20RU%207\Downloads\data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Inspeksi%20RU%207\Downloads\data.xlsx" TargetMode="Externa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chartUserShapes" Target="../drawings/drawing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areto!$B$2:$B$4</c:f>
              <c:strCache>
                <c:ptCount val="3"/>
                <c:pt idx="0">
                  <c:v>Tidak ada database terpusat </c:v>
                </c:pt>
                <c:pt idx="1">
                  <c:v>Tidak ada database terintegrasi (masih excel/manual)</c:v>
                </c:pt>
                <c:pt idx="2">
                  <c:v>User bisa mengakses dan mengubah data di luar wewenangnya</c:v>
                </c:pt>
              </c:strCache>
            </c:strRef>
          </c:cat>
          <c:val>
            <c:numRef>
              <c:f>pareto!$C$2:$C$4</c:f>
              <c:numCache>
                <c:formatCode>General</c:formatCode>
                <c:ptCount val="3"/>
                <c:pt idx="0">
                  <c:v>25</c:v>
                </c:pt>
                <c:pt idx="1">
                  <c:v>16</c:v>
                </c:pt>
                <c:pt idx="2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60B-4234-96EA-837A83993898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280195103"/>
        <c:axId val="1280193663"/>
      </c:barChart>
      <c:lineChart>
        <c:grouping val="standard"/>
        <c:varyColors val="0"/>
        <c:ser>
          <c:idx val="1"/>
          <c:order val="1"/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areto!$B$2:$B$4</c:f>
              <c:strCache>
                <c:ptCount val="3"/>
                <c:pt idx="0">
                  <c:v>Tidak ada database terpusat </c:v>
                </c:pt>
                <c:pt idx="1">
                  <c:v>Tidak ada database terintegrasi (masih excel/manual)</c:v>
                </c:pt>
                <c:pt idx="2">
                  <c:v>User bisa mengakses dan mengubah data di luar wewenangnya</c:v>
                </c:pt>
              </c:strCache>
            </c:strRef>
          </c:cat>
          <c:val>
            <c:numRef>
              <c:f>pareto!$F$2:$F$4</c:f>
              <c:numCache>
                <c:formatCode>General</c:formatCode>
                <c:ptCount val="3"/>
                <c:pt idx="0">
                  <c:v>50</c:v>
                </c:pt>
                <c:pt idx="1">
                  <c:v>82</c:v>
                </c:pt>
                <c:pt idx="2">
                  <c:v>1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460B-4234-96EA-837A83993898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871015439"/>
        <c:axId val="1278670175"/>
      </c:lineChart>
      <c:catAx>
        <c:axId val="128019510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80193663"/>
        <c:crosses val="autoZero"/>
        <c:auto val="1"/>
        <c:lblAlgn val="ctr"/>
        <c:lblOffset val="100"/>
        <c:noMultiLvlLbl val="0"/>
      </c:catAx>
      <c:valAx>
        <c:axId val="128019366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Nilai Bobot</a:t>
                </a:r>
                <a:endParaRPr lang="en-ID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ID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80195103"/>
        <c:crosses val="autoZero"/>
        <c:crossBetween val="between"/>
        <c:majorUnit val="25"/>
      </c:valAx>
      <c:valAx>
        <c:axId val="1278670175"/>
        <c:scaling>
          <c:orientation val="minMax"/>
        </c:scaling>
        <c:delete val="0"/>
        <c:axPos val="r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% Kumulatif</a:t>
                </a:r>
                <a:endParaRPr lang="en-ID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ID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71015439"/>
        <c:crosses val="max"/>
        <c:crossBetween val="between"/>
      </c:valAx>
      <c:catAx>
        <c:axId val="1871015439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278670175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rgbClr val="E9EBF5"/>
    </a:solidFill>
    <a:ln>
      <a:noFill/>
    </a:ln>
    <a:effectLst/>
  </c:spPr>
  <c:txPr>
    <a:bodyPr/>
    <a:lstStyle/>
    <a:p>
      <a:pPr>
        <a:defRPr>
          <a:latin typeface="+mn-lt"/>
        </a:defRPr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areto!$B$2:$B$4</c:f>
              <c:strCache>
                <c:ptCount val="3"/>
                <c:pt idx="0">
                  <c:v>Tidak ada database terpusat </c:v>
                </c:pt>
                <c:pt idx="1">
                  <c:v>Tidak ada database terintegrasi (masih excel/manual)</c:v>
                </c:pt>
                <c:pt idx="2">
                  <c:v>User bisa mengakses dan mengubah data di luar wewenangnya</c:v>
                </c:pt>
              </c:strCache>
            </c:strRef>
          </c:cat>
          <c:val>
            <c:numRef>
              <c:f>pareto!$C$2:$C$4</c:f>
              <c:numCache>
                <c:formatCode>General</c:formatCode>
                <c:ptCount val="3"/>
                <c:pt idx="0">
                  <c:v>0</c:v>
                </c:pt>
                <c:pt idx="1">
                  <c:v>0</c:v>
                </c:pt>
                <c:pt idx="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1BE-4C28-B273-494D6CE79C6A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280195103"/>
        <c:axId val="1280193663"/>
      </c:barChart>
      <c:lineChart>
        <c:grouping val="standard"/>
        <c:varyColors val="0"/>
        <c:ser>
          <c:idx val="1"/>
          <c:order val="1"/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areto!$B$2:$B$4</c:f>
              <c:strCache>
                <c:ptCount val="3"/>
                <c:pt idx="0">
                  <c:v>Tidak ada database terpusat </c:v>
                </c:pt>
                <c:pt idx="1">
                  <c:v>Tidak ada database terintegrasi (masih excel/manual)</c:v>
                </c:pt>
                <c:pt idx="2">
                  <c:v>User bisa mengakses dan mengubah data di luar wewenangnya</c:v>
                </c:pt>
              </c:strCache>
            </c:strRef>
          </c:cat>
          <c:val>
            <c:numRef>
              <c:f>pareto!$F$2:$F$4</c:f>
              <c:numCache>
                <c:formatCode>General</c:formatCode>
                <c:ptCount val="3"/>
                <c:pt idx="0">
                  <c:v>0</c:v>
                </c:pt>
                <c:pt idx="1">
                  <c:v>0</c:v>
                </c:pt>
                <c:pt idx="2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1BE-4C28-B273-494D6CE79C6A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871015439"/>
        <c:axId val="1278670175"/>
      </c:lineChart>
      <c:catAx>
        <c:axId val="128019510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80193663"/>
        <c:crosses val="autoZero"/>
        <c:auto val="1"/>
        <c:lblAlgn val="ctr"/>
        <c:lblOffset val="100"/>
        <c:noMultiLvlLbl val="0"/>
      </c:catAx>
      <c:valAx>
        <c:axId val="128019366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Nilai Bobot</a:t>
                </a:r>
                <a:endParaRPr lang="en-ID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ID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80195103"/>
        <c:crosses val="autoZero"/>
        <c:crossBetween val="between"/>
        <c:majorUnit val="25"/>
      </c:valAx>
      <c:valAx>
        <c:axId val="1278670175"/>
        <c:scaling>
          <c:orientation val="minMax"/>
        </c:scaling>
        <c:delete val="0"/>
        <c:axPos val="r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% Kumulatif</a:t>
                </a:r>
                <a:endParaRPr lang="en-ID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ID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71015439"/>
        <c:crosses val="max"/>
        <c:crossBetween val="between"/>
      </c:valAx>
      <c:catAx>
        <c:axId val="1871015439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278670175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rgbClr val="E9EDF4"/>
    </a:solidFill>
    <a:ln>
      <a:noFill/>
    </a:ln>
    <a:effectLst/>
  </c:spPr>
  <c:txPr>
    <a:bodyPr/>
    <a:lstStyle/>
    <a:p>
      <a:pPr>
        <a:defRPr>
          <a:latin typeface="+mn-lt"/>
        </a:defRPr>
      </a:pPr>
      <a:endParaRPr lang="en-US"/>
    </a:p>
  </c:txPr>
  <c:externalData r:id="rId3">
    <c:autoUpdate val="0"/>
  </c:externalData>
  <c:userShapes r:id="rId4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AED7CB9-55E0-49D2-9ACF-00949EA4C479}" type="doc">
      <dgm:prSet loTypeId="urn:microsoft.com/office/officeart/2005/8/layout/orgChart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605F6FB-926D-4F6A-87D3-69E4645BAE99}">
      <dgm:prSet phldrT="[Text]" custT="1"/>
      <dgm:spPr/>
      <dgm:t>
        <a:bodyPr/>
        <a:lstStyle/>
        <a:p>
          <a:r>
            <a:rPr lang="en-US" sz="700"/>
            <a:t>Tidak </a:t>
          </a:r>
          <a:r>
            <a:rPr lang="en-US" sz="700" err="1"/>
            <a:t>adanya</a:t>
          </a:r>
          <a:r>
            <a:rPr lang="en-US" sz="700"/>
            <a:t> </a:t>
          </a:r>
          <a:r>
            <a:rPr lang="en-US" sz="700" err="1"/>
            <a:t>sistem</a:t>
          </a:r>
          <a:r>
            <a:rPr lang="en-US" sz="700"/>
            <a:t> database </a:t>
          </a:r>
          <a:r>
            <a:rPr lang="en-US" sz="700" err="1"/>
            <a:t>terintegrasi</a:t>
          </a:r>
          <a:r>
            <a:rPr lang="en-US" sz="700"/>
            <a:t> </a:t>
          </a:r>
          <a:r>
            <a:rPr lang="en-US" sz="700" err="1"/>
            <a:t>untuk</a:t>
          </a:r>
          <a:r>
            <a:rPr lang="en-US" sz="700"/>
            <a:t> </a:t>
          </a:r>
          <a:r>
            <a:rPr lang="en-US" sz="700" err="1"/>
            <a:t>pengelolaan</a:t>
          </a:r>
          <a:r>
            <a:rPr lang="en-US" sz="700"/>
            <a:t> data </a:t>
          </a:r>
          <a:r>
            <a:rPr lang="en-US" sz="700" err="1"/>
            <a:t>inspeksi</a:t>
          </a:r>
          <a:endParaRPr lang="en-US" sz="700"/>
        </a:p>
      </dgm:t>
    </dgm:pt>
    <dgm:pt modelId="{B0A188CF-32C1-47D3-8D55-0320BDB650D6}" type="parTrans" cxnId="{DFFB50BE-399D-4B99-BE00-AC75D0A18869}">
      <dgm:prSet/>
      <dgm:spPr/>
      <dgm:t>
        <a:bodyPr/>
        <a:lstStyle/>
        <a:p>
          <a:endParaRPr lang="en-US" sz="700"/>
        </a:p>
      </dgm:t>
    </dgm:pt>
    <dgm:pt modelId="{01C7F98F-79FE-4896-81A4-8B6CE06E4464}" type="sibTrans" cxnId="{DFFB50BE-399D-4B99-BE00-AC75D0A18869}">
      <dgm:prSet/>
      <dgm:spPr/>
      <dgm:t>
        <a:bodyPr/>
        <a:lstStyle/>
        <a:p>
          <a:endParaRPr lang="en-US" sz="700"/>
        </a:p>
      </dgm:t>
    </dgm:pt>
    <dgm:pt modelId="{38A14EAE-DC13-461D-B25E-CFCDE2FB7BEE}">
      <dgm:prSet phldrT="[Text]" custT="1"/>
      <dgm:spPr>
        <a:solidFill>
          <a:schemeClr val="accent6"/>
        </a:solidFill>
      </dgm:spPr>
      <dgm:t>
        <a:bodyPr/>
        <a:lstStyle/>
        <a:p>
          <a:r>
            <a:rPr lang="en-US" sz="700"/>
            <a:t>Faktor Technical (System/Tools)</a:t>
          </a:r>
        </a:p>
      </dgm:t>
    </dgm:pt>
    <dgm:pt modelId="{C33E1D0B-51DC-40BD-9740-242C2E9BF996}" type="parTrans" cxnId="{71713C23-D4A3-435F-8D5A-46843E2F228B}">
      <dgm:prSet custT="1"/>
      <dgm:spPr/>
      <dgm:t>
        <a:bodyPr/>
        <a:lstStyle/>
        <a:p>
          <a:endParaRPr lang="en-US" sz="700"/>
        </a:p>
      </dgm:t>
    </dgm:pt>
    <dgm:pt modelId="{23FF870C-48F3-4205-B96C-6BDECF8FF8F4}" type="sibTrans" cxnId="{71713C23-D4A3-435F-8D5A-46843E2F228B}">
      <dgm:prSet/>
      <dgm:spPr/>
      <dgm:t>
        <a:bodyPr/>
        <a:lstStyle/>
        <a:p>
          <a:endParaRPr lang="en-US" sz="700"/>
        </a:p>
      </dgm:t>
    </dgm:pt>
    <dgm:pt modelId="{92B96919-5306-4C3F-BD46-5754CCE58775}">
      <dgm:prSet phldrT="[Text]" custT="1"/>
      <dgm:spPr>
        <a:solidFill>
          <a:schemeClr val="accent6"/>
        </a:solidFill>
      </dgm:spPr>
      <dgm:t>
        <a:bodyPr/>
        <a:lstStyle/>
        <a:p>
          <a:r>
            <a:rPr lang="en-US" sz="700"/>
            <a:t>Faktor </a:t>
          </a:r>
          <a:r>
            <a:rPr lang="en-US" sz="700" err="1"/>
            <a:t>Operasional</a:t>
          </a:r>
          <a:r>
            <a:rPr lang="en-US" sz="700"/>
            <a:t> (Process/User)</a:t>
          </a:r>
        </a:p>
      </dgm:t>
    </dgm:pt>
    <dgm:pt modelId="{2F3ED31A-D12B-4DC8-A10F-F5CB98858858}" type="parTrans" cxnId="{4AE26E10-EA6A-4F39-8230-0ACC97E83AAC}">
      <dgm:prSet custT="1"/>
      <dgm:spPr/>
      <dgm:t>
        <a:bodyPr/>
        <a:lstStyle/>
        <a:p>
          <a:endParaRPr lang="en-US" sz="700"/>
        </a:p>
      </dgm:t>
    </dgm:pt>
    <dgm:pt modelId="{4EA02F4C-79A2-4823-A7CD-95C1CD5F3E2E}" type="sibTrans" cxnId="{4AE26E10-EA6A-4F39-8230-0ACC97E83AAC}">
      <dgm:prSet/>
      <dgm:spPr/>
      <dgm:t>
        <a:bodyPr/>
        <a:lstStyle/>
        <a:p>
          <a:endParaRPr lang="en-US" sz="700"/>
        </a:p>
      </dgm:t>
    </dgm:pt>
    <dgm:pt modelId="{D32A18CC-DB59-49A2-895E-C20DB8B1BDD2}">
      <dgm:prSet phldrT="[Text]" custT="1"/>
      <dgm:spPr/>
      <dgm:t>
        <a:bodyPr/>
        <a:lstStyle/>
        <a:p>
          <a:r>
            <a:rPr lang="en-US" sz="700" err="1"/>
            <a:t>Sistem</a:t>
          </a:r>
          <a:r>
            <a:rPr lang="en-US" sz="700"/>
            <a:t> </a:t>
          </a:r>
          <a:r>
            <a:rPr lang="en-US" sz="700" err="1"/>
            <a:t>tidak</a:t>
          </a:r>
          <a:r>
            <a:rPr lang="en-US" sz="700"/>
            <a:t> </a:t>
          </a:r>
          <a:r>
            <a:rPr lang="en-US" sz="700" err="1"/>
            <a:t>memiliki</a:t>
          </a:r>
          <a:r>
            <a:rPr lang="en-US" sz="700"/>
            <a:t> </a:t>
          </a:r>
          <a:r>
            <a:rPr lang="en-US" sz="700" err="1"/>
            <a:t>akuntabilitas</a:t>
          </a:r>
          <a:endParaRPr lang="en-US" sz="700"/>
        </a:p>
      </dgm:t>
    </dgm:pt>
    <dgm:pt modelId="{FAE4D0CE-9470-426E-91C1-CF4E2C1DBC82}" type="parTrans" cxnId="{E77171BD-7C16-49AD-99A2-A53BE2E39759}">
      <dgm:prSet custT="1"/>
      <dgm:spPr/>
      <dgm:t>
        <a:bodyPr/>
        <a:lstStyle/>
        <a:p>
          <a:endParaRPr lang="en-US" sz="700"/>
        </a:p>
      </dgm:t>
    </dgm:pt>
    <dgm:pt modelId="{7440A328-2347-46F0-88ED-023BC875AD50}" type="sibTrans" cxnId="{E77171BD-7C16-49AD-99A2-A53BE2E39759}">
      <dgm:prSet/>
      <dgm:spPr/>
      <dgm:t>
        <a:bodyPr/>
        <a:lstStyle/>
        <a:p>
          <a:endParaRPr lang="en-US" sz="700"/>
        </a:p>
      </dgm:t>
    </dgm:pt>
    <dgm:pt modelId="{67F4DDED-58FD-4033-A698-03023B609EDD}">
      <dgm:prSet phldrT="[Text]" custT="1"/>
      <dgm:spPr>
        <a:solidFill>
          <a:srgbClr val="FF0000"/>
        </a:solidFill>
      </dgm:spPr>
      <dgm:t>
        <a:bodyPr/>
        <a:lstStyle/>
        <a:p>
          <a:r>
            <a:rPr lang="en-US" sz="700"/>
            <a:t>Tidak </a:t>
          </a:r>
          <a:r>
            <a:rPr lang="en-US" sz="700" err="1"/>
            <a:t>ada</a:t>
          </a:r>
          <a:r>
            <a:rPr lang="en-US" sz="700"/>
            <a:t> database </a:t>
          </a:r>
          <a:r>
            <a:rPr lang="en-US" sz="700" err="1"/>
            <a:t>terpusat</a:t>
          </a:r>
          <a:r>
            <a:rPr lang="en-US" sz="700"/>
            <a:t> (single source of truth)</a:t>
          </a:r>
        </a:p>
      </dgm:t>
    </dgm:pt>
    <dgm:pt modelId="{59A653E4-E0FA-4867-BE51-91E81EBBD6E7}" type="parTrans" cxnId="{52D5373E-0E7B-4DEA-87C5-110DD453BC70}">
      <dgm:prSet custT="1"/>
      <dgm:spPr/>
      <dgm:t>
        <a:bodyPr/>
        <a:lstStyle/>
        <a:p>
          <a:endParaRPr lang="en-US" sz="700"/>
        </a:p>
      </dgm:t>
    </dgm:pt>
    <dgm:pt modelId="{FC694DA6-D676-4E8A-9A91-189B96FDC9B0}" type="sibTrans" cxnId="{52D5373E-0E7B-4DEA-87C5-110DD453BC70}">
      <dgm:prSet/>
      <dgm:spPr/>
      <dgm:t>
        <a:bodyPr/>
        <a:lstStyle/>
        <a:p>
          <a:endParaRPr lang="en-US" sz="700"/>
        </a:p>
      </dgm:t>
    </dgm:pt>
    <dgm:pt modelId="{21CA524F-0E74-484B-92E6-BA6DECB5AF47}">
      <dgm:prSet phldrT="[Text]" custT="1"/>
      <dgm:spPr/>
      <dgm:t>
        <a:bodyPr/>
        <a:lstStyle/>
        <a:p>
          <a:r>
            <a:rPr lang="en-US" sz="700"/>
            <a:t>Tidak adanya system monitoring manajemen data secara real-time</a:t>
          </a:r>
        </a:p>
      </dgm:t>
    </dgm:pt>
    <dgm:pt modelId="{7D02DAAD-8C85-4E26-8807-C7C4FC6919FF}" type="parTrans" cxnId="{FE039FEA-B8C6-4B2A-ACF8-FD8B853492B6}">
      <dgm:prSet custT="1"/>
      <dgm:spPr/>
      <dgm:t>
        <a:bodyPr/>
        <a:lstStyle/>
        <a:p>
          <a:endParaRPr lang="en-US" sz="700"/>
        </a:p>
      </dgm:t>
    </dgm:pt>
    <dgm:pt modelId="{460E5277-DBEE-4F63-9B20-5569EC5771F9}" type="sibTrans" cxnId="{FE039FEA-B8C6-4B2A-ACF8-FD8B853492B6}">
      <dgm:prSet/>
      <dgm:spPr/>
      <dgm:t>
        <a:bodyPr/>
        <a:lstStyle/>
        <a:p>
          <a:endParaRPr lang="en-US" sz="700"/>
        </a:p>
      </dgm:t>
    </dgm:pt>
    <dgm:pt modelId="{15063CAC-C707-42F9-B755-BB74A6BCED74}">
      <dgm:prSet phldrT="[Text]" custT="1"/>
      <dgm:spPr/>
      <dgm:t>
        <a:bodyPr/>
        <a:lstStyle/>
        <a:p>
          <a:r>
            <a:rPr lang="en-US" sz="700" strike="noStrike"/>
            <a:t>Tidak adanya system backup data</a:t>
          </a:r>
        </a:p>
      </dgm:t>
    </dgm:pt>
    <dgm:pt modelId="{42D08631-2373-4E53-AD64-8CCF03742E3D}" type="parTrans" cxnId="{83BBB07A-9CBA-4833-8D86-6D06DD29BF9B}">
      <dgm:prSet custT="1"/>
      <dgm:spPr/>
      <dgm:t>
        <a:bodyPr/>
        <a:lstStyle/>
        <a:p>
          <a:endParaRPr lang="en-US" sz="700"/>
        </a:p>
      </dgm:t>
    </dgm:pt>
    <dgm:pt modelId="{5BAF091B-5B9D-491A-8B95-98D7CC838E61}" type="sibTrans" cxnId="{83BBB07A-9CBA-4833-8D86-6D06DD29BF9B}">
      <dgm:prSet/>
      <dgm:spPr/>
      <dgm:t>
        <a:bodyPr/>
        <a:lstStyle/>
        <a:p>
          <a:endParaRPr lang="en-US" sz="700"/>
        </a:p>
      </dgm:t>
    </dgm:pt>
    <dgm:pt modelId="{56D07477-A766-433E-B77A-0A565CF8B6EC}">
      <dgm:prSet phldrT="[Text]" custT="1"/>
      <dgm:spPr/>
      <dgm:t>
        <a:bodyPr/>
        <a:lstStyle/>
        <a:p>
          <a:r>
            <a:rPr lang="en-US" sz="700"/>
            <a:t>User </a:t>
          </a:r>
          <a:r>
            <a:rPr lang="en-US" sz="700" err="1"/>
            <a:t>kesulitan</a:t>
          </a:r>
          <a:r>
            <a:rPr lang="en-US" sz="700"/>
            <a:t> </a:t>
          </a:r>
          <a:r>
            <a:rPr lang="en-US" sz="700" err="1"/>
            <a:t>dalam</a:t>
          </a:r>
          <a:r>
            <a:rPr lang="en-US" sz="700"/>
            <a:t> </a:t>
          </a:r>
          <a:r>
            <a:rPr lang="en-US" sz="700" err="1"/>
            <a:t>pencarian</a:t>
          </a:r>
          <a:r>
            <a:rPr lang="en-US" sz="700"/>
            <a:t> data </a:t>
          </a:r>
          <a:r>
            <a:rPr lang="en-US" sz="700" err="1"/>
            <a:t>dari</a:t>
          </a:r>
          <a:r>
            <a:rPr lang="en-US" sz="700"/>
            <a:t> </a:t>
          </a:r>
          <a:r>
            <a:rPr lang="en-US" sz="700" err="1"/>
            <a:t>kumpulan</a:t>
          </a:r>
          <a:r>
            <a:rPr lang="en-US" sz="700"/>
            <a:t> </a:t>
          </a:r>
          <a:r>
            <a:rPr lang="en-US" sz="700" err="1"/>
            <a:t>sumber</a:t>
          </a:r>
          <a:r>
            <a:rPr lang="en-US" sz="700"/>
            <a:t> data</a:t>
          </a:r>
        </a:p>
      </dgm:t>
    </dgm:pt>
    <dgm:pt modelId="{9904AFE3-74AD-4B4F-ACFC-E44DD2400F3A}" type="parTrans" cxnId="{D0435C06-A332-4F10-86AD-6E70A4D39C46}">
      <dgm:prSet custT="1"/>
      <dgm:spPr/>
      <dgm:t>
        <a:bodyPr/>
        <a:lstStyle/>
        <a:p>
          <a:endParaRPr lang="en-US" sz="700"/>
        </a:p>
      </dgm:t>
    </dgm:pt>
    <dgm:pt modelId="{B5CC14C2-02CE-4EE2-A036-E176AF927FFA}" type="sibTrans" cxnId="{D0435C06-A332-4F10-86AD-6E70A4D39C46}">
      <dgm:prSet/>
      <dgm:spPr/>
      <dgm:t>
        <a:bodyPr/>
        <a:lstStyle/>
        <a:p>
          <a:endParaRPr lang="en-US" sz="700"/>
        </a:p>
      </dgm:t>
    </dgm:pt>
    <dgm:pt modelId="{B8E2FDA7-DBAC-40B8-84FD-3F7744134896}">
      <dgm:prSet phldrT="[Text]" custT="1"/>
      <dgm:spPr>
        <a:solidFill>
          <a:srgbClr val="FF0000"/>
        </a:solidFill>
      </dgm:spPr>
      <dgm:t>
        <a:bodyPr/>
        <a:lstStyle/>
        <a:p>
          <a:r>
            <a:rPr lang="en-US" sz="700"/>
            <a:t>User</a:t>
          </a:r>
          <a:r>
            <a:rPr lang="en-US" sz="700" baseline="0"/>
            <a:t> </a:t>
          </a:r>
          <a:r>
            <a:rPr lang="en-US" sz="700" baseline="0" err="1"/>
            <a:t>bisa</a:t>
          </a:r>
          <a:r>
            <a:rPr lang="en-US" sz="700" baseline="0"/>
            <a:t> </a:t>
          </a:r>
          <a:r>
            <a:rPr lang="en-US" sz="700" baseline="0" err="1"/>
            <a:t>mengakses</a:t>
          </a:r>
          <a:r>
            <a:rPr lang="en-US" sz="700" baseline="0"/>
            <a:t> dan </a:t>
          </a:r>
          <a:r>
            <a:rPr lang="en-US" sz="700" baseline="0" err="1"/>
            <a:t>mengubah</a:t>
          </a:r>
          <a:r>
            <a:rPr lang="en-US" sz="700" baseline="0"/>
            <a:t> data di </a:t>
          </a:r>
          <a:r>
            <a:rPr lang="en-US" sz="700" baseline="0" err="1"/>
            <a:t>luar</a:t>
          </a:r>
          <a:r>
            <a:rPr lang="en-US" sz="700" baseline="0"/>
            <a:t> </a:t>
          </a:r>
          <a:r>
            <a:rPr lang="en-US" sz="700" baseline="0" err="1"/>
            <a:t>wewenangnya</a:t>
          </a:r>
          <a:endParaRPr lang="en-US" sz="700"/>
        </a:p>
      </dgm:t>
    </dgm:pt>
    <dgm:pt modelId="{CD19E6E3-B126-4DDD-9293-AB5F8722A7D9}" type="parTrans" cxnId="{38261DE2-77C4-4A61-A2C0-D028041BDB9D}">
      <dgm:prSet custT="1"/>
      <dgm:spPr/>
      <dgm:t>
        <a:bodyPr/>
        <a:lstStyle/>
        <a:p>
          <a:endParaRPr lang="en-US" sz="700"/>
        </a:p>
      </dgm:t>
    </dgm:pt>
    <dgm:pt modelId="{8D7D1AB3-94A4-4F3C-967E-2EFEAD5D2624}" type="sibTrans" cxnId="{38261DE2-77C4-4A61-A2C0-D028041BDB9D}">
      <dgm:prSet/>
      <dgm:spPr/>
      <dgm:t>
        <a:bodyPr/>
        <a:lstStyle/>
        <a:p>
          <a:endParaRPr lang="en-US" sz="700"/>
        </a:p>
      </dgm:t>
    </dgm:pt>
    <dgm:pt modelId="{B385146C-51F3-456F-8279-C7A0804C6E0D}">
      <dgm:prSet phldrT="[Text]" custT="1"/>
      <dgm:spPr/>
      <dgm:t>
        <a:bodyPr/>
        <a:lstStyle/>
        <a:p>
          <a:r>
            <a:rPr lang="en-US" sz="700"/>
            <a:t>User</a:t>
          </a:r>
          <a:r>
            <a:rPr lang="en-US" sz="700" baseline="0"/>
            <a:t> </a:t>
          </a:r>
          <a:r>
            <a:rPr lang="en-US" sz="700" baseline="0" err="1"/>
            <a:t>dapat</a:t>
          </a:r>
          <a:r>
            <a:rPr lang="en-US" sz="700" baseline="0"/>
            <a:t> </a:t>
          </a:r>
          <a:r>
            <a:rPr lang="en-US" sz="700" baseline="0" err="1"/>
            <a:t>menginput</a:t>
          </a:r>
          <a:r>
            <a:rPr lang="en-US" sz="700" baseline="0"/>
            <a:t> data </a:t>
          </a:r>
          <a:r>
            <a:rPr lang="en-US" sz="700" baseline="0" err="1"/>
            <a:t>tanpa</a:t>
          </a:r>
          <a:r>
            <a:rPr lang="en-US" sz="700" baseline="0"/>
            <a:t> </a:t>
          </a:r>
          <a:r>
            <a:rPr lang="en-US" sz="700" baseline="0" err="1"/>
            <a:t>mengikuti</a:t>
          </a:r>
          <a:r>
            <a:rPr lang="en-US" sz="700" baseline="0"/>
            <a:t> </a:t>
          </a:r>
          <a:r>
            <a:rPr lang="en-US" sz="700" baseline="0" err="1"/>
            <a:t>prosedur</a:t>
          </a:r>
          <a:r>
            <a:rPr lang="en-US" sz="700" baseline="0"/>
            <a:t> </a:t>
          </a:r>
          <a:r>
            <a:rPr lang="en-US" sz="700" baseline="0" err="1"/>
            <a:t>baku</a:t>
          </a:r>
          <a:endParaRPr lang="en-US" sz="700"/>
        </a:p>
      </dgm:t>
    </dgm:pt>
    <dgm:pt modelId="{2FDF6CBC-A1B0-4EE3-A479-250CC8E36022}" type="parTrans" cxnId="{7B7F850A-DB7B-4140-B0BE-D12D62661EB3}">
      <dgm:prSet custT="1"/>
      <dgm:spPr/>
      <dgm:t>
        <a:bodyPr/>
        <a:lstStyle/>
        <a:p>
          <a:endParaRPr lang="en-US" sz="700"/>
        </a:p>
      </dgm:t>
    </dgm:pt>
    <dgm:pt modelId="{2CF6F711-B660-477B-B797-8FA7B60E9A69}" type="sibTrans" cxnId="{7B7F850A-DB7B-4140-B0BE-D12D62661EB3}">
      <dgm:prSet/>
      <dgm:spPr/>
      <dgm:t>
        <a:bodyPr/>
        <a:lstStyle/>
        <a:p>
          <a:endParaRPr lang="en-US" sz="700"/>
        </a:p>
      </dgm:t>
    </dgm:pt>
    <dgm:pt modelId="{0940DAE1-3FA4-4BDA-8978-A13581EA9E10}">
      <dgm:prSet phldrT="[Text]" custT="1"/>
      <dgm:spPr>
        <a:solidFill>
          <a:srgbClr val="FF0000"/>
        </a:solidFill>
      </dgm:spPr>
      <dgm:t>
        <a:bodyPr/>
        <a:lstStyle/>
        <a:p>
          <a:r>
            <a:rPr lang="en-US" sz="700" err="1"/>
            <a:t>Risiko</a:t>
          </a:r>
          <a:r>
            <a:rPr lang="en-US" sz="700"/>
            <a:t> </a:t>
          </a:r>
          <a:r>
            <a:rPr lang="en-US" sz="700" err="1"/>
            <a:t>keamanan</a:t>
          </a:r>
          <a:r>
            <a:rPr lang="en-US" sz="700"/>
            <a:t> data </a:t>
          </a:r>
          <a:r>
            <a:rPr lang="en-US" sz="700" err="1"/>
            <a:t>tinggi</a:t>
          </a:r>
          <a:r>
            <a:rPr lang="en-US" sz="700"/>
            <a:t> (</a:t>
          </a:r>
          <a:r>
            <a:rPr lang="en-US" sz="700" err="1"/>
            <a:t>mudah</a:t>
          </a:r>
          <a:r>
            <a:rPr lang="en-US" sz="700"/>
            <a:t> </a:t>
          </a:r>
          <a:r>
            <a:rPr lang="en-US" sz="700" err="1"/>
            <a:t>hilang</a:t>
          </a:r>
          <a:r>
            <a:rPr lang="en-US" sz="700"/>
            <a:t> / </a:t>
          </a:r>
          <a:r>
            <a:rPr lang="en-US" sz="700" err="1"/>
            <a:t>inkonsistensi</a:t>
          </a:r>
          <a:r>
            <a:rPr lang="en-US" sz="700"/>
            <a:t>)</a:t>
          </a:r>
          <a:endParaRPr lang="en-US" sz="700" strike="noStrike"/>
        </a:p>
      </dgm:t>
    </dgm:pt>
    <dgm:pt modelId="{18689370-0DB2-4456-AD79-4D6D5A0F293A}" type="parTrans" cxnId="{CF815F22-6BB3-4FF2-A8A8-64AB7D73C42F}">
      <dgm:prSet/>
      <dgm:spPr/>
      <dgm:t>
        <a:bodyPr/>
        <a:lstStyle/>
        <a:p>
          <a:endParaRPr lang="en-ID"/>
        </a:p>
      </dgm:t>
    </dgm:pt>
    <dgm:pt modelId="{EC539B44-6740-4AFE-A59E-D03CC73B75DD}" type="sibTrans" cxnId="{CF815F22-6BB3-4FF2-A8A8-64AB7D73C42F}">
      <dgm:prSet/>
      <dgm:spPr/>
      <dgm:t>
        <a:bodyPr/>
        <a:lstStyle/>
        <a:p>
          <a:endParaRPr lang="en-ID"/>
        </a:p>
      </dgm:t>
    </dgm:pt>
    <dgm:pt modelId="{281557E9-7BA7-48CD-B3B5-6794794605C5}" type="pres">
      <dgm:prSet presAssocID="{4AED7CB9-55E0-49D2-9ACF-00949EA4C479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6184C5D0-A4E4-4C8E-96CA-C9EFC59C1CE7}" type="pres">
      <dgm:prSet presAssocID="{6605F6FB-926D-4F6A-87D3-69E4645BAE99}" presName="hierRoot1" presStyleCnt="0">
        <dgm:presLayoutVars>
          <dgm:hierBranch val="init"/>
        </dgm:presLayoutVars>
      </dgm:prSet>
      <dgm:spPr/>
    </dgm:pt>
    <dgm:pt modelId="{ABAC4065-119B-4582-95BA-9C7311E2FDA3}" type="pres">
      <dgm:prSet presAssocID="{6605F6FB-926D-4F6A-87D3-69E4645BAE99}" presName="rootComposite1" presStyleCnt="0"/>
      <dgm:spPr/>
    </dgm:pt>
    <dgm:pt modelId="{64F6E0E5-D0CC-4658-85E1-B432FB1B46FB}" type="pres">
      <dgm:prSet presAssocID="{6605F6FB-926D-4F6A-87D3-69E4645BAE99}" presName="rootText1" presStyleLbl="node0" presStyleIdx="0" presStyleCnt="1">
        <dgm:presLayoutVars>
          <dgm:chPref val="3"/>
        </dgm:presLayoutVars>
      </dgm:prSet>
      <dgm:spPr/>
    </dgm:pt>
    <dgm:pt modelId="{C9FF61D9-FD88-4505-81C5-834123E3034A}" type="pres">
      <dgm:prSet presAssocID="{6605F6FB-926D-4F6A-87D3-69E4645BAE99}" presName="rootConnector1" presStyleLbl="node1" presStyleIdx="0" presStyleCnt="0"/>
      <dgm:spPr/>
    </dgm:pt>
    <dgm:pt modelId="{83EBA272-C41C-4AF3-A1F4-B3DAAAC9FE6D}" type="pres">
      <dgm:prSet presAssocID="{6605F6FB-926D-4F6A-87D3-69E4645BAE99}" presName="hierChild2" presStyleCnt="0"/>
      <dgm:spPr/>
    </dgm:pt>
    <dgm:pt modelId="{3D8ABA99-DEF1-4BE6-9CB0-A240F2F0A7F6}" type="pres">
      <dgm:prSet presAssocID="{C33E1D0B-51DC-40BD-9740-242C2E9BF996}" presName="Name37" presStyleLbl="parChTrans1D2" presStyleIdx="0" presStyleCnt="2"/>
      <dgm:spPr/>
    </dgm:pt>
    <dgm:pt modelId="{A8D46CF0-A182-494B-9F00-431AECE5E80A}" type="pres">
      <dgm:prSet presAssocID="{38A14EAE-DC13-461D-B25E-CFCDE2FB7BEE}" presName="hierRoot2" presStyleCnt="0">
        <dgm:presLayoutVars>
          <dgm:hierBranch/>
        </dgm:presLayoutVars>
      </dgm:prSet>
      <dgm:spPr/>
    </dgm:pt>
    <dgm:pt modelId="{2EB9753B-4512-4CA2-BB79-2FE0F5B2D909}" type="pres">
      <dgm:prSet presAssocID="{38A14EAE-DC13-461D-B25E-CFCDE2FB7BEE}" presName="rootComposite" presStyleCnt="0"/>
      <dgm:spPr/>
    </dgm:pt>
    <dgm:pt modelId="{50AD2FEB-572F-4F60-A294-0DF8CB3E5E72}" type="pres">
      <dgm:prSet presAssocID="{38A14EAE-DC13-461D-B25E-CFCDE2FB7BEE}" presName="rootText" presStyleLbl="node2" presStyleIdx="0" presStyleCnt="2" custLinFactNeighborX="-79" custLinFactNeighborY="-1315">
        <dgm:presLayoutVars>
          <dgm:chPref val="3"/>
        </dgm:presLayoutVars>
      </dgm:prSet>
      <dgm:spPr/>
    </dgm:pt>
    <dgm:pt modelId="{6004CEA8-1CD7-4D72-9703-19BA714D7CFC}" type="pres">
      <dgm:prSet presAssocID="{38A14EAE-DC13-461D-B25E-CFCDE2FB7BEE}" presName="rootConnector" presStyleLbl="node2" presStyleIdx="0" presStyleCnt="2"/>
      <dgm:spPr/>
    </dgm:pt>
    <dgm:pt modelId="{D409A920-1C2E-4937-9ECC-62721E6E906C}" type="pres">
      <dgm:prSet presAssocID="{38A14EAE-DC13-461D-B25E-CFCDE2FB7BEE}" presName="hierChild4" presStyleCnt="0"/>
      <dgm:spPr/>
    </dgm:pt>
    <dgm:pt modelId="{534FBCC1-0B77-40CF-B23A-C54E66EB75EA}" type="pres">
      <dgm:prSet presAssocID="{FAE4D0CE-9470-426E-91C1-CF4E2C1DBC82}" presName="Name35" presStyleLbl="parChTrans1D3" presStyleIdx="0" presStyleCnt="8"/>
      <dgm:spPr/>
    </dgm:pt>
    <dgm:pt modelId="{F4ED6600-74C9-41AB-ABE2-22B276FF4621}" type="pres">
      <dgm:prSet presAssocID="{D32A18CC-DB59-49A2-895E-C20DB8B1BDD2}" presName="hierRoot2" presStyleCnt="0">
        <dgm:presLayoutVars>
          <dgm:hierBranch val="init"/>
        </dgm:presLayoutVars>
      </dgm:prSet>
      <dgm:spPr/>
    </dgm:pt>
    <dgm:pt modelId="{37BC1CD7-A17D-4642-B8B1-6DB9633B494D}" type="pres">
      <dgm:prSet presAssocID="{D32A18CC-DB59-49A2-895E-C20DB8B1BDD2}" presName="rootComposite" presStyleCnt="0"/>
      <dgm:spPr/>
    </dgm:pt>
    <dgm:pt modelId="{EC2B44D6-5A56-4BDD-B6D6-6781F9C9C7F8}" type="pres">
      <dgm:prSet presAssocID="{D32A18CC-DB59-49A2-895E-C20DB8B1BDD2}" presName="rootText" presStyleLbl="node3" presStyleIdx="0" presStyleCnt="8" custLinFactX="19097" custLinFactNeighborX="100000" custLinFactNeighborY="408">
        <dgm:presLayoutVars>
          <dgm:chPref val="3"/>
        </dgm:presLayoutVars>
      </dgm:prSet>
      <dgm:spPr/>
    </dgm:pt>
    <dgm:pt modelId="{E03964CF-53BF-4D28-A657-CE5136D4FF99}" type="pres">
      <dgm:prSet presAssocID="{D32A18CC-DB59-49A2-895E-C20DB8B1BDD2}" presName="rootConnector" presStyleLbl="node3" presStyleIdx="0" presStyleCnt="8"/>
      <dgm:spPr/>
    </dgm:pt>
    <dgm:pt modelId="{AC25DDB9-16A6-4E79-BC37-D4B9F0CEA0DD}" type="pres">
      <dgm:prSet presAssocID="{D32A18CC-DB59-49A2-895E-C20DB8B1BDD2}" presName="hierChild4" presStyleCnt="0"/>
      <dgm:spPr/>
    </dgm:pt>
    <dgm:pt modelId="{D2F5ED1B-0993-4262-95F5-A72454237277}" type="pres">
      <dgm:prSet presAssocID="{D32A18CC-DB59-49A2-895E-C20DB8B1BDD2}" presName="hierChild5" presStyleCnt="0"/>
      <dgm:spPr/>
    </dgm:pt>
    <dgm:pt modelId="{3F01D50C-FA10-4A8E-B314-FE6368ECB46B}" type="pres">
      <dgm:prSet presAssocID="{59A653E4-E0FA-4867-BE51-91E81EBBD6E7}" presName="Name35" presStyleLbl="parChTrans1D3" presStyleIdx="1" presStyleCnt="8"/>
      <dgm:spPr/>
    </dgm:pt>
    <dgm:pt modelId="{0680BB23-ADB8-4AF1-B8D9-860FAF4368E0}" type="pres">
      <dgm:prSet presAssocID="{67F4DDED-58FD-4033-A698-03023B609EDD}" presName="hierRoot2" presStyleCnt="0">
        <dgm:presLayoutVars>
          <dgm:hierBranch val="init"/>
        </dgm:presLayoutVars>
      </dgm:prSet>
      <dgm:spPr/>
    </dgm:pt>
    <dgm:pt modelId="{93B78C66-95F1-43EC-867D-3354B323D934}" type="pres">
      <dgm:prSet presAssocID="{67F4DDED-58FD-4033-A698-03023B609EDD}" presName="rootComposite" presStyleCnt="0"/>
      <dgm:spPr/>
    </dgm:pt>
    <dgm:pt modelId="{79B45168-A6CE-406C-B549-101F11FED158}" type="pres">
      <dgm:prSet presAssocID="{67F4DDED-58FD-4033-A698-03023B609EDD}" presName="rootText" presStyleLbl="node3" presStyleIdx="1" presStyleCnt="8" custLinFactX="-17015" custLinFactNeighborX="-100000" custLinFactNeighborY="-1317">
        <dgm:presLayoutVars>
          <dgm:chPref val="3"/>
        </dgm:presLayoutVars>
      </dgm:prSet>
      <dgm:spPr/>
    </dgm:pt>
    <dgm:pt modelId="{EEBC21B4-B21B-42E4-AFBA-7E1E76593FFF}" type="pres">
      <dgm:prSet presAssocID="{67F4DDED-58FD-4033-A698-03023B609EDD}" presName="rootConnector" presStyleLbl="node3" presStyleIdx="1" presStyleCnt="8"/>
      <dgm:spPr/>
    </dgm:pt>
    <dgm:pt modelId="{719B2B84-9E50-4092-A19B-03E6DC6856BC}" type="pres">
      <dgm:prSet presAssocID="{67F4DDED-58FD-4033-A698-03023B609EDD}" presName="hierChild4" presStyleCnt="0"/>
      <dgm:spPr/>
    </dgm:pt>
    <dgm:pt modelId="{1A0C0796-7D09-4F92-BE49-6F381037B606}" type="pres">
      <dgm:prSet presAssocID="{67F4DDED-58FD-4033-A698-03023B609EDD}" presName="hierChild5" presStyleCnt="0"/>
      <dgm:spPr/>
    </dgm:pt>
    <dgm:pt modelId="{BBC2AD9A-25F9-4462-89D1-2561BCD87801}" type="pres">
      <dgm:prSet presAssocID="{7D02DAAD-8C85-4E26-8807-C7C4FC6919FF}" presName="Name35" presStyleLbl="parChTrans1D3" presStyleIdx="2" presStyleCnt="8"/>
      <dgm:spPr/>
    </dgm:pt>
    <dgm:pt modelId="{6562094A-86C4-47DB-B5EB-EA6D0DFCBC3A}" type="pres">
      <dgm:prSet presAssocID="{21CA524F-0E74-484B-92E6-BA6DECB5AF47}" presName="hierRoot2" presStyleCnt="0">
        <dgm:presLayoutVars>
          <dgm:hierBranch val="init"/>
        </dgm:presLayoutVars>
      </dgm:prSet>
      <dgm:spPr/>
    </dgm:pt>
    <dgm:pt modelId="{2D92A40E-B61B-461B-AB43-98E46B874674}" type="pres">
      <dgm:prSet presAssocID="{21CA524F-0E74-484B-92E6-BA6DECB5AF47}" presName="rootComposite" presStyleCnt="0"/>
      <dgm:spPr/>
    </dgm:pt>
    <dgm:pt modelId="{5D59FB96-D096-4E14-8E8C-44C26D81C10F}" type="pres">
      <dgm:prSet presAssocID="{21CA524F-0E74-484B-92E6-BA6DECB5AF47}" presName="rootText" presStyleLbl="node3" presStyleIdx="2" presStyleCnt="8">
        <dgm:presLayoutVars>
          <dgm:chPref val="3"/>
        </dgm:presLayoutVars>
      </dgm:prSet>
      <dgm:spPr/>
    </dgm:pt>
    <dgm:pt modelId="{474DC1A7-B3FE-4A27-A72E-50D1AA58546D}" type="pres">
      <dgm:prSet presAssocID="{21CA524F-0E74-484B-92E6-BA6DECB5AF47}" presName="rootConnector" presStyleLbl="node3" presStyleIdx="2" presStyleCnt="8"/>
      <dgm:spPr/>
    </dgm:pt>
    <dgm:pt modelId="{D2F761D7-18AD-4C19-9CA6-0E1DC80C26CE}" type="pres">
      <dgm:prSet presAssocID="{21CA524F-0E74-484B-92E6-BA6DECB5AF47}" presName="hierChild4" presStyleCnt="0"/>
      <dgm:spPr/>
    </dgm:pt>
    <dgm:pt modelId="{0399A275-0753-4B1E-8AD1-7C91B6E3258B}" type="pres">
      <dgm:prSet presAssocID="{21CA524F-0E74-484B-92E6-BA6DECB5AF47}" presName="hierChild5" presStyleCnt="0"/>
      <dgm:spPr/>
    </dgm:pt>
    <dgm:pt modelId="{5D32CED8-AFE2-4A98-BF0E-32B5BDE9FE9E}" type="pres">
      <dgm:prSet presAssocID="{42D08631-2373-4E53-AD64-8CCF03742E3D}" presName="Name35" presStyleLbl="parChTrans1D3" presStyleIdx="3" presStyleCnt="8"/>
      <dgm:spPr/>
    </dgm:pt>
    <dgm:pt modelId="{3936F468-6DE7-4F9C-94E1-1ABD18D5D449}" type="pres">
      <dgm:prSet presAssocID="{15063CAC-C707-42F9-B755-BB74A6BCED74}" presName="hierRoot2" presStyleCnt="0">
        <dgm:presLayoutVars>
          <dgm:hierBranch val="init"/>
        </dgm:presLayoutVars>
      </dgm:prSet>
      <dgm:spPr/>
    </dgm:pt>
    <dgm:pt modelId="{32D1F9CF-CB30-4E97-84AB-BA4F0A8D4F30}" type="pres">
      <dgm:prSet presAssocID="{15063CAC-C707-42F9-B755-BB74A6BCED74}" presName="rootComposite" presStyleCnt="0"/>
      <dgm:spPr/>
    </dgm:pt>
    <dgm:pt modelId="{D6EC866C-0560-486A-9647-472758F1F404}" type="pres">
      <dgm:prSet presAssocID="{15063CAC-C707-42F9-B755-BB74A6BCED74}" presName="rootText" presStyleLbl="node3" presStyleIdx="3" presStyleCnt="8">
        <dgm:presLayoutVars>
          <dgm:chPref val="3"/>
        </dgm:presLayoutVars>
      </dgm:prSet>
      <dgm:spPr/>
    </dgm:pt>
    <dgm:pt modelId="{0AA02649-1986-4D50-8368-B3D4BD7F1895}" type="pres">
      <dgm:prSet presAssocID="{15063CAC-C707-42F9-B755-BB74A6BCED74}" presName="rootConnector" presStyleLbl="node3" presStyleIdx="3" presStyleCnt="8"/>
      <dgm:spPr/>
    </dgm:pt>
    <dgm:pt modelId="{932CDA7F-6393-4ADB-9BFE-6C5974E4F1A1}" type="pres">
      <dgm:prSet presAssocID="{15063CAC-C707-42F9-B755-BB74A6BCED74}" presName="hierChild4" presStyleCnt="0"/>
      <dgm:spPr/>
    </dgm:pt>
    <dgm:pt modelId="{16C9A49C-B8FC-410E-8B64-8FBD444C088E}" type="pres">
      <dgm:prSet presAssocID="{15063CAC-C707-42F9-B755-BB74A6BCED74}" presName="hierChild5" presStyleCnt="0"/>
      <dgm:spPr/>
    </dgm:pt>
    <dgm:pt modelId="{CCA8342A-FCAA-405B-A703-FDD2424BA8AC}" type="pres">
      <dgm:prSet presAssocID="{18689370-0DB2-4456-AD79-4D6D5A0F293A}" presName="Name35" presStyleLbl="parChTrans1D3" presStyleIdx="4" presStyleCnt="8"/>
      <dgm:spPr/>
    </dgm:pt>
    <dgm:pt modelId="{0E53C820-DD72-4F85-B121-AED231313961}" type="pres">
      <dgm:prSet presAssocID="{0940DAE1-3FA4-4BDA-8978-A13581EA9E10}" presName="hierRoot2" presStyleCnt="0">
        <dgm:presLayoutVars>
          <dgm:hierBranch val="init"/>
        </dgm:presLayoutVars>
      </dgm:prSet>
      <dgm:spPr/>
    </dgm:pt>
    <dgm:pt modelId="{5CB2389C-9FF7-4ED8-BEA9-C643FAB759EE}" type="pres">
      <dgm:prSet presAssocID="{0940DAE1-3FA4-4BDA-8978-A13581EA9E10}" presName="rootComposite" presStyleCnt="0"/>
      <dgm:spPr/>
    </dgm:pt>
    <dgm:pt modelId="{CF424BCA-5DF8-40D7-AFD6-8DCCFE523ED9}" type="pres">
      <dgm:prSet presAssocID="{0940DAE1-3FA4-4BDA-8978-A13581EA9E10}" presName="rootText" presStyleLbl="node3" presStyleIdx="4" presStyleCnt="8">
        <dgm:presLayoutVars>
          <dgm:chPref val="3"/>
        </dgm:presLayoutVars>
      </dgm:prSet>
      <dgm:spPr/>
    </dgm:pt>
    <dgm:pt modelId="{9847FABF-D491-4CBE-9A65-D1D896642FF6}" type="pres">
      <dgm:prSet presAssocID="{0940DAE1-3FA4-4BDA-8978-A13581EA9E10}" presName="rootConnector" presStyleLbl="node3" presStyleIdx="4" presStyleCnt="8"/>
      <dgm:spPr/>
    </dgm:pt>
    <dgm:pt modelId="{0D031FD8-7DAE-43AA-BD80-401D038AA6E6}" type="pres">
      <dgm:prSet presAssocID="{0940DAE1-3FA4-4BDA-8978-A13581EA9E10}" presName="hierChild4" presStyleCnt="0"/>
      <dgm:spPr/>
    </dgm:pt>
    <dgm:pt modelId="{35B215CD-2224-4D50-BE5D-C034C14F9373}" type="pres">
      <dgm:prSet presAssocID="{0940DAE1-3FA4-4BDA-8978-A13581EA9E10}" presName="hierChild5" presStyleCnt="0"/>
      <dgm:spPr/>
    </dgm:pt>
    <dgm:pt modelId="{DB9E4896-879A-4C71-8097-39152D9CF2BE}" type="pres">
      <dgm:prSet presAssocID="{38A14EAE-DC13-461D-B25E-CFCDE2FB7BEE}" presName="hierChild5" presStyleCnt="0"/>
      <dgm:spPr/>
    </dgm:pt>
    <dgm:pt modelId="{7A2F95C6-7D9F-46A6-AF82-F0CC020B1688}" type="pres">
      <dgm:prSet presAssocID="{2F3ED31A-D12B-4DC8-A10F-F5CB98858858}" presName="Name37" presStyleLbl="parChTrans1D2" presStyleIdx="1" presStyleCnt="2"/>
      <dgm:spPr/>
    </dgm:pt>
    <dgm:pt modelId="{18937C2C-0B85-4A3F-AF6D-FFF5A6D7DFC9}" type="pres">
      <dgm:prSet presAssocID="{92B96919-5306-4C3F-BD46-5754CCE58775}" presName="hierRoot2" presStyleCnt="0">
        <dgm:presLayoutVars>
          <dgm:hierBranch/>
        </dgm:presLayoutVars>
      </dgm:prSet>
      <dgm:spPr/>
    </dgm:pt>
    <dgm:pt modelId="{E0908179-03FA-4C86-A636-58101BD6350C}" type="pres">
      <dgm:prSet presAssocID="{92B96919-5306-4C3F-BD46-5754CCE58775}" presName="rootComposite" presStyleCnt="0"/>
      <dgm:spPr/>
    </dgm:pt>
    <dgm:pt modelId="{1D1D2820-EBB2-43BE-974D-6637CA3EEF0E}" type="pres">
      <dgm:prSet presAssocID="{92B96919-5306-4C3F-BD46-5754CCE58775}" presName="rootText" presStyleLbl="node2" presStyleIdx="1" presStyleCnt="2">
        <dgm:presLayoutVars>
          <dgm:chPref val="3"/>
        </dgm:presLayoutVars>
      </dgm:prSet>
      <dgm:spPr/>
    </dgm:pt>
    <dgm:pt modelId="{207B569B-0BEF-4D8F-BCC6-C15B426B961D}" type="pres">
      <dgm:prSet presAssocID="{92B96919-5306-4C3F-BD46-5754CCE58775}" presName="rootConnector" presStyleLbl="node2" presStyleIdx="1" presStyleCnt="2"/>
      <dgm:spPr/>
    </dgm:pt>
    <dgm:pt modelId="{4A856CD9-9BA9-4C1A-96E6-93F4464A794F}" type="pres">
      <dgm:prSet presAssocID="{92B96919-5306-4C3F-BD46-5754CCE58775}" presName="hierChild4" presStyleCnt="0"/>
      <dgm:spPr/>
    </dgm:pt>
    <dgm:pt modelId="{9832044E-C4B2-43D9-BDB7-40EABFB5DC36}" type="pres">
      <dgm:prSet presAssocID="{9904AFE3-74AD-4B4F-ACFC-E44DD2400F3A}" presName="Name35" presStyleLbl="parChTrans1D3" presStyleIdx="5" presStyleCnt="8"/>
      <dgm:spPr/>
    </dgm:pt>
    <dgm:pt modelId="{3391B546-C845-41A6-BA6D-F3E766C3C2A2}" type="pres">
      <dgm:prSet presAssocID="{56D07477-A766-433E-B77A-0A565CF8B6EC}" presName="hierRoot2" presStyleCnt="0">
        <dgm:presLayoutVars>
          <dgm:hierBranch val="init"/>
        </dgm:presLayoutVars>
      </dgm:prSet>
      <dgm:spPr/>
    </dgm:pt>
    <dgm:pt modelId="{C8820267-A882-4EA4-AB5E-E75556330F2D}" type="pres">
      <dgm:prSet presAssocID="{56D07477-A766-433E-B77A-0A565CF8B6EC}" presName="rootComposite" presStyleCnt="0"/>
      <dgm:spPr/>
    </dgm:pt>
    <dgm:pt modelId="{912E5E81-B5DF-47AF-B985-0371D4C594D7}" type="pres">
      <dgm:prSet presAssocID="{56D07477-A766-433E-B77A-0A565CF8B6EC}" presName="rootText" presStyleLbl="node3" presStyleIdx="5" presStyleCnt="8">
        <dgm:presLayoutVars>
          <dgm:chPref val="3"/>
        </dgm:presLayoutVars>
      </dgm:prSet>
      <dgm:spPr/>
    </dgm:pt>
    <dgm:pt modelId="{B497254B-0921-4E0D-B68A-49A46F8CCFEB}" type="pres">
      <dgm:prSet presAssocID="{56D07477-A766-433E-B77A-0A565CF8B6EC}" presName="rootConnector" presStyleLbl="node3" presStyleIdx="5" presStyleCnt="8"/>
      <dgm:spPr/>
    </dgm:pt>
    <dgm:pt modelId="{070F35E0-6A83-4D24-A225-9138AFDDACD4}" type="pres">
      <dgm:prSet presAssocID="{56D07477-A766-433E-B77A-0A565CF8B6EC}" presName="hierChild4" presStyleCnt="0"/>
      <dgm:spPr/>
    </dgm:pt>
    <dgm:pt modelId="{1CBDD42A-98D9-4A89-91BB-BFEAD29624EB}" type="pres">
      <dgm:prSet presAssocID="{56D07477-A766-433E-B77A-0A565CF8B6EC}" presName="hierChild5" presStyleCnt="0"/>
      <dgm:spPr/>
    </dgm:pt>
    <dgm:pt modelId="{860E3D2A-69B0-4F2B-BCDB-244971BFF121}" type="pres">
      <dgm:prSet presAssocID="{CD19E6E3-B126-4DDD-9293-AB5F8722A7D9}" presName="Name35" presStyleLbl="parChTrans1D3" presStyleIdx="6" presStyleCnt="8"/>
      <dgm:spPr/>
    </dgm:pt>
    <dgm:pt modelId="{253E50DA-B2B7-4B49-98E1-B0B37C077443}" type="pres">
      <dgm:prSet presAssocID="{B8E2FDA7-DBAC-40B8-84FD-3F7744134896}" presName="hierRoot2" presStyleCnt="0">
        <dgm:presLayoutVars>
          <dgm:hierBranch val="init"/>
        </dgm:presLayoutVars>
      </dgm:prSet>
      <dgm:spPr/>
    </dgm:pt>
    <dgm:pt modelId="{C4A621B4-3128-4024-AFDE-F2079127EB02}" type="pres">
      <dgm:prSet presAssocID="{B8E2FDA7-DBAC-40B8-84FD-3F7744134896}" presName="rootComposite" presStyleCnt="0"/>
      <dgm:spPr/>
    </dgm:pt>
    <dgm:pt modelId="{808C5095-345D-4ACC-A1FD-01625E3CE390}" type="pres">
      <dgm:prSet presAssocID="{B8E2FDA7-DBAC-40B8-84FD-3F7744134896}" presName="rootText" presStyleLbl="node3" presStyleIdx="6" presStyleCnt="8">
        <dgm:presLayoutVars>
          <dgm:chPref val="3"/>
        </dgm:presLayoutVars>
      </dgm:prSet>
      <dgm:spPr/>
    </dgm:pt>
    <dgm:pt modelId="{059EA660-2623-46BA-8AB0-5063FB17D9B4}" type="pres">
      <dgm:prSet presAssocID="{B8E2FDA7-DBAC-40B8-84FD-3F7744134896}" presName="rootConnector" presStyleLbl="node3" presStyleIdx="6" presStyleCnt="8"/>
      <dgm:spPr/>
    </dgm:pt>
    <dgm:pt modelId="{950C0007-6A4D-4102-9C5C-10C845E70399}" type="pres">
      <dgm:prSet presAssocID="{B8E2FDA7-DBAC-40B8-84FD-3F7744134896}" presName="hierChild4" presStyleCnt="0"/>
      <dgm:spPr/>
    </dgm:pt>
    <dgm:pt modelId="{18AF96F9-E037-4983-B9D5-51FF851F9FA5}" type="pres">
      <dgm:prSet presAssocID="{B8E2FDA7-DBAC-40B8-84FD-3F7744134896}" presName="hierChild5" presStyleCnt="0"/>
      <dgm:spPr/>
    </dgm:pt>
    <dgm:pt modelId="{7355AE76-6C8A-4EA2-AECB-4994E6CC7282}" type="pres">
      <dgm:prSet presAssocID="{2FDF6CBC-A1B0-4EE3-A479-250CC8E36022}" presName="Name35" presStyleLbl="parChTrans1D3" presStyleIdx="7" presStyleCnt="8"/>
      <dgm:spPr/>
    </dgm:pt>
    <dgm:pt modelId="{6611D12B-71DD-48AF-B1BC-E2D90D459F84}" type="pres">
      <dgm:prSet presAssocID="{B385146C-51F3-456F-8279-C7A0804C6E0D}" presName="hierRoot2" presStyleCnt="0">
        <dgm:presLayoutVars>
          <dgm:hierBranch val="init"/>
        </dgm:presLayoutVars>
      </dgm:prSet>
      <dgm:spPr/>
    </dgm:pt>
    <dgm:pt modelId="{884CEFDB-6DF2-4937-9331-965A7BABE514}" type="pres">
      <dgm:prSet presAssocID="{B385146C-51F3-456F-8279-C7A0804C6E0D}" presName="rootComposite" presStyleCnt="0"/>
      <dgm:spPr/>
    </dgm:pt>
    <dgm:pt modelId="{E3D927BD-687D-4D2C-9DB2-7D1FA370B308}" type="pres">
      <dgm:prSet presAssocID="{B385146C-51F3-456F-8279-C7A0804C6E0D}" presName="rootText" presStyleLbl="node3" presStyleIdx="7" presStyleCnt="8">
        <dgm:presLayoutVars>
          <dgm:chPref val="3"/>
        </dgm:presLayoutVars>
      </dgm:prSet>
      <dgm:spPr/>
    </dgm:pt>
    <dgm:pt modelId="{4B5C164D-610B-4F9C-9DA4-19DBEAEDB169}" type="pres">
      <dgm:prSet presAssocID="{B385146C-51F3-456F-8279-C7A0804C6E0D}" presName="rootConnector" presStyleLbl="node3" presStyleIdx="7" presStyleCnt="8"/>
      <dgm:spPr/>
    </dgm:pt>
    <dgm:pt modelId="{EE486DCF-35B8-440B-9F96-A4DF6E6B95BE}" type="pres">
      <dgm:prSet presAssocID="{B385146C-51F3-456F-8279-C7A0804C6E0D}" presName="hierChild4" presStyleCnt="0"/>
      <dgm:spPr/>
    </dgm:pt>
    <dgm:pt modelId="{F380B304-2C6A-4C03-B5FE-0633DDF8F640}" type="pres">
      <dgm:prSet presAssocID="{B385146C-51F3-456F-8279-C7A0804C6E0D}" presName="hierChild5" presStyleCnt="0"/>
      <dgm:spPr/>
    </dgm:pt>
    <dgm:pt modelId="{4A766C53-6E26-464F-A69F-F7699FB407D2}" type="pres">
      <dgm:prSet presAssocID="{92B96919-5306-4C3F-BD46-5754CCE58775}" presName="hierChild5" presStyleCnt="0"/>
      <dgm:spPr/>
    </dgm:pt>
    <dgm:pt modelId="{9BCCFF93-7606-4094-A0DB-E25E5BFBD38F}" type="pres">
      <dgm:prSet presAssocID="{6605F6FB-926D-4F6A-87D3-69E4645BAE99}" presName="hierChild3" presStyleCnt="0"/>
      <dgm:spPr/>
    </dgm:pt>
  </dgm:ptLst>
  <dgm:cxnLst>
    <dgm:cxn modelId="{793B3706-C01F-4C35-974C-729438C8FA44}" type="presOf" srcId="{B385146C-51F3-456F-8279-C7A0804C6E0D}" destId="{4B5C164D-610B-4F9C-9DA4-19DBEAEDB169}" srcOrd="1" destOrd="0" presId="urn:microsoft.com/office/officeart/2005/8/layout/orgChart1"/>
    <dgm:cxn modelId="{D0435C06-A332-4F10-86AD-6E70A4D39C46}" srcId="{92B96919-5306-4C3F-BD46-5754CCE58775}" destId="{56D07477-A766-433E-B77A-0A565CF8B6EC}" srcOrd="0" destOrd="0" parTransId="{9904AFE3-74AD-4B4F-ACFC-E44DD2400F3A}" sibTransId="{B5CC14C2-02CE-4EE2-A036-E176AF927FFA}"/>
    <dgm:cxn modelId="{7B7F850A-DB7B-4140-B0BE-D12D62661EB3}" srcId="{92B96919-5306-4C3F-BD46-5754CCE58775}" destId="{B385146C-51F3-456F-8279-C7A0804C6E0D}" srcOrd="2" destOrd="0" parTransId="{2FDF6CBC-A1B0-4EE3-A479-250CC8E36022}" sibTransId="{2CF6F711-B660-477B-B797-8FA7B60E9A69}"/>
    <dgm:cxn modelId="{40453E0C-CF6C-438B-B545-3E43091B2E12}" type="presOf" srcId="{FAE4D0CE-9470-426E-91C1-CF4E2C1DBC82}" destId="{534FBCC1-0B77-40CF-B23A-C54E66EB75EA}" srcOrd="0" destOrd="0" presId="urn:microsoft.com/office/officeart/2005/8/layout/orgChart1"/>
    <dgm:cxn modelId="{98A8FF0E-8A83-48D6-9281-2B784E2578E6}" type="presOf" srcId="{56D07477-A766-433E-B77A-0A565CF8B6EC}" destId="{B497254B-0921-4E0D-B68A-49A46F8CCFEB}" srcOrd="1" destOrd="0" presId="urn:microsoft.com/office/officeart/2005/8/layout/orgChart1"/>
    <dgm:cxn modelId="{4AE26E10-EA6A-4F39-8230-0ACC97E83AAC}" srcId="{6605F6FB-926D-4F6A-87D3-69E4645BAE99}" destId="{92B96919-5306-4C3F-BD46-5754CCE58775}" srcOrd="1" destOrd="0" parTransId="{2F3ED31A-D12B-4DC8-A10F-F5CB98858858}" sibTransId="{4EA02F4C-79A2-4823-A7CD-95C1CD5F3E2E}"/>
    <dgm:cxn modelId="{7672F515-131E-4EEA-A580-96002935C7CE}" type="presOf" srcId="{15063CAC-C707-42F9-B755-BB74A6BCED74}" destId="{0AA02649-1986-4D50-8368-B3D4BD7F1895}" srcOrd="1" destOrd="0" presId="urn:microsoft.com/office/officeart/2005/8/layout/orgChart1"/>
    <dgm:cxn modelId="{A5B40918-B543-4E69-BF5C-1459E36E4FBA}" type="presOf" srcId="{6605F6FB-926D-4F6A-87D3-69E4645BAE99}" destId="{64F6E0E5-D0CC-4658-85E1-B432FB1B46FB}" srcOrd="0" destOrd="0" presId="urn:microsoft.com/office/officeart/2005/8/layout/orgChart1"/>
    <dgm:cxn modelId="{DC910A20-2EA0-4C6C-9AD8-982EB2F2C8DF}" type="presOf" srcId="{9904AFE3-74AD-4B4F-ACFC-E44DD2400F3A}" destId="{9832044E-C4B2-43D9-BDB7-40EABFB5DC36}" srcOrd="0" destOrd="0" presId="urn:microsoft.com/office/officeart/2005/8/layout/orgChart1"/>
    <dgm:cxn modelId="{CF815F22-6BB3-4FF2-A8A8-64AB7D73C42F}" srcId="{38A14EAE-DC13-461D-B25E-CFCDE2FB7BEE}" destId="{0940DAE1-3FA4-4BDA-8978-A13581EA9E10}" srcOrd="4" destOrd="0" parTransId="{18689370-0DB2-4456-AD79-4D6D5A0F293A}" sibTransId="{EC539B44-6740-4AFE-A59E-D03CC73B75DD}"/>
    <dgm:cxn modelId="{71713C23-D4A3-435F-8D5A-46843E2F228B}" srcId="{6605F6FB-926D-4F6A-87D3-69E4645BAE99}" destId="{38A14EAE-DC13-461D-B25E-CFCDE2FB7BEE}" srcOrd="0" destOrd="0" parTransId="{C33E1D0B-51DC-40BD-9740-242C2E9BF996}" sibTransId="{23FF870C-48F3-4205-B96C-6BDECF8FF8F4}"/>
    <dgm:cxn modelId="{8EDF7A2A-FD46-43A8-9015-F98033D60BFF}" type="presOf" srcId="{0940DAE1-3FA4-4BDA-8978-A13581EA9E10}" destId="{9847FABF-D491-4CBE-9A65-D1D896642FF6}" srcOrd="1" destOrd="0" presId="urn:microsoft.com/office/officeart/2005/8/layout/orgChart1"/>
    <dgm:cxn modelId="{7CE4BE38-F7C6-4FD2-8FA7-C1FC16C56511}" type="presOf" srcId="{38A14EAE-DC13-461D-B25E-CFCDE2FB7BEE}" destId="{6004CEA8-1CD7-4D72-9703-19BA714D7CFC}" srcOrd="1" destOrd="0" presId="urn:microsoft.com/office/officeart/2005/8/layout/orgChart1"/>
    <dgm:cxn modelId="{A4DA303B-423A-4D76-919A-59BDAE5532B3}" type="presOf" srcId="{92B96919-5306-4C3F-BD46-5754CCE58775}" destId="{1D1D2820-EBB2-43BE-974D-6637CA3EEF0E}" srcOrd="0" destOrd="0" presId="urn:microsoft.com/office/officeart/2005/8/layout/orgChart1"/>
    <dgm:cxn modelId="{52D5373E-0E7B-4DEA-87C5-110DD453BC70}" srcId="{38A14EAE-DC13-461D-B25E-CFCDE2FB7BEE}" destId="{67F4DDED-58FD-4033-A698-03023B609EDD}" srcOrd="1" destOrd="0" parTransId="{59A653E4-E0FA-4867-BE51-91E81EBBD6E7}" sibTransId="{FC694DA6-D676-4E8A-9A91-189B96FDC9B0}"/>
    <dgm:cxn modelId="{0ACCC040-B593-4648-AB0D-551D0B26A6D4}" type="presOf" srcId="{7D02DAAD-8C85-4E26-8807-C7C4FC6919FF}" destId="{BBC2AD9A-25F9-4462-89D1-2561BCD87801}" srcOrd="0" destOrd="0" presId="urn:microsoft.com/office/officeart/2005/8/layout/orgChart1"/>
    <dgm:cxn modelId="{0FC77160-90C3-431C-97F6-72D09842780B}" type="presOf" srcId="{D32A18CC-DB59-49A2-895E-C20DB8B1BDD2}" destId="{EC2B44D6-5A56-4BDD-B6D6-6781F9C9C7F8}" srcOrd="0" destOrd="0" presId="urn:microsoft.com/office/officeart/2005/8/layout/orgChart1"/>
    <dgm:cxn modelId="{66EB8A43-A85F-4613-902F-8519C98D107E}" type="presOf" srcId="{42D08631-2373-4E53-AD64-8CCF03742E3D}" destId="{5D32CED8-AFE2-4A98-BF0E-32B5BDE9FE9E}" srcOrd="0" destOrd="0" presId="urn:microsoft.com/office/officeart/2005/8/layout/orgChart1"/>
    <dgm:cxn modelId="{4FBE156A-994F-45BC-B361-D9EE0582B37D}" type="presOf" srcId="{38A14EAE-DC13-461D-B25E-CFCDE2FB7BEE}" destId="{50AD2FEB-572F-4F60-A294-0DF8CB3E5E72}" srcOrd="0" destOrd="0" presId="urn:microsoft.com/office/officeart/2005/8/layout/orgChart1"/>
    <dgm:cxn modelId="{092FD24C-0836-40AD-A8EB-4D0AF9F2C39B}" type="presOf" srcId="{59A653E4-E0FA-4867-BE51-91E81EBBD6E7}" destId="{3F01D50C-FA10-4A8E-B314-FE6368ECB46B}" srcOrd="0" destOrd="0" presId="urn:microsoft.com/office/officeart/2005/8/layout/orgChart1"/>
    <dgm:cxn modelId="{040F8F50-AA58-4865-8DA5-A6E55205E406}" type="presOf" srcId="{2F3ED31A-D12B-4DC8-A10F-F5CB98858858}" destId="{7A2F95C6-7D9F-46A6-AF82-F0CC020B1688}" srcOrd="0" destOrd="0" presId="urn:microsoft.com/office/officeart/2005/8/layout/orgChart1"/>
    <dgm:cxn modelId="{1E40E750-9D3D-4266-8488-7FF627FC42AB}" type="presOf" srcId="{B8E2FDA7-DBAC-40B8-84FD-3F7744134896}" destId="{808C5095-345D-4ACC-A1FD-01625E3CE390}" srcOrd="0" destOrd="0" presId="urn:microsoft.com/office/officeart/2005/8/layout/orgChart1"/>
    <dgm:cxn modelId="{EA152951-892F-4A96-A651-B8E97C4E3596}" type="presOf" srcId="{92B96919-5306-4C3F-BD46-5754CCE58775}" destId="{207B569B-0BEF-4D8F-BCC6-C15B426B961D}" srcOrd="1" destOrd="0" presId="urn:microsoft.com/office/officeart/2005/8/layout/orgChart1"/>
    <dgm:cxn modelId="{AEEF0E57-9163-4795-BDCD-C8C7CC5D4DA4}" type="presOf" srcId="{B385146C-51F3-456F-8279-C7A0804C6E0D}" destId="{E3D927BD-687D-4D2C-9DB2-7D1FA370B308}" srcOrd="0" destOrd="0" presId="urn:microsoft.com/office/officeart/2005/8/layout/orgChart1"/>
    <dgm:cxn modelId="{BB8CB359-1EC1-4A91-8C5D-36D177B6F0C9}" type="presOf" srcId="{6605F6FB-926D-4F6A-87D3-69E4645BAE99}" destId="{C9FF61D9-FD88-4505-81C5-834123E3034A}" srcOrd="1" destOrd="0" presId="urn:microsoft.com/office/officeart/2005/8/layout/orgChart1"/>
    <dgm:cxn modelId="{83BBB07A-9CBA-4833-8D86-6D06DD29BF9B}" srcId="{38A14EAE-DC13-461D-B25E-CFCDE2FB7BEE}" destId="{15063CAC-C707-42F9-B755-BB74A6BCED74}" srcOrd="3" destOrd="0" parTransId="{42D08631-2373-4E53-AD64-8CCF03742E3D}" sibTransId="{5BAF091B-5B9D-491A-8B95-98D7CC838E61}"/>
    <dgm:cxn modelId="{EA408491-EC6E-48F6-80B3-CAED9C735D94}" type="presOf" srcId="{67F4DDED-58FD-4033-A698-03023B609EDD}" destId="{EEBC21B4-B21B-42E4-AFBA-7E1E76593FFF}" srcOrd="1" destOrd="0" presId="urn:microsoft.com/office/officeart/2005/8/layout/orgChart1"/>
    <dgm:cxn modelId="{C30B089A-D74F-4585-BFE2-B9786CE20314}" type="presOf" srcId="{D32A18CC-DB59-49A2-895E-C20DB8B1BDD2}" destId="{E03964CF-53BF-4D28-A657-CE5136D4FF99}" srcOrd="1" destOrd="0" presId="urn:microsoft.com/office/officeart/2005/8/layout/orgChart1"/>
    <dgm:cxn modelId="{64D45D9A-2B57-42E0-A52C-3921044F8F6F}" type="presOf" srcId="{21CA524F-0E74-484B-92E6-BA6DECB5AF47}" destId="{5D59FB96-D096-4E14-8E8C-44C26D81C10F}" srcOrd="0" destOrd="0" presId="urn:microsoft.com/office/officeart/2005/8/layout/orgChart1"/>
    <dgm:cxn modelId="{09620C9C-EBD6-4DDA-A162-C87A11A2276A}" type="presOf" srcId="{2FDF6CBC-A1B0-4EE3-A479-250CC8E36022}" destId="{7355AE76-6C8A-4EA2-AECB-4994E6CC7282}" srcOrd="0" destOrd="0" presId="urn:microsoft.com/office/officeart/2005/8/layout/orgChart1"/>
    <dgm:cxn modelId="{F2C7CCA5-D03A-413D-8310-936D02059B2C}" type="presOf" srcId="{0940DAE1-3FA4-4BDA-8978-A13581EA9E10}" destId="{CF424BCA-5DF8-40D7-AFD6-8DCCFE523ED9}" srcOrd="0" destOrd="0" presId="urn:microsoft.com/office/officeart/2005/8/layout/orgChart1"/>
    <dgm:cxn modelId="{B99688B1-8951-4B4A-B63F-2F95AC8FBAC4}" type="presOf" srcId="{B8E2FDA7-DBAC-40B8-84FD-3F7744134896}" destId="{059EA660-2623-46BA-8AB0-5063FB17D9B4}" srcOrd="1" destOrd="0" presId="urn:microsoft.com/office/officeart/2005/8/layout/orgChart1"/>
    <dgm:cxn modelId="{8998EFB8-E94F-4644-8F0E-CA22F0AB3D93}" type="presOf" srcId="{18689370-0DB2-4456-AD79-4D6D5A0F293A}" destId="{CCA8342A-FCAA-405B-A703-FDD2424BA8AC}" srcOrd="0" destOrd="0" presId="urn:microsoft.com/office/officeart/2005/8/layout/orgChart1"/>
    <dgm:cxn modelId="{3C3EB5BB-0B21-4888-9B19-3C9D7C5EA398}" type="presOf" srcId="{CD19E6E3-B126-4DDD-9293-AB5F8722A7D9}" destId="{860E3D2A-69B0-4F2B-BCDB-244971BFF121}" srcOrd="0" destOrd="0" presId="urn:microsoft.com/office/officeart/2005/8/layout/orgChart1"/>
    <dgm:cxn modelId="{17E321BD-E624-4492-A812-731DBBAA5359}" type="presOf" srcId="{67F4DDED-58FD-4033-A698-03023B609EDD}" destId="{79B45168-A6CE-406C-B549-101F11FED158}" srcOrd="0" destOrd="0" presId="urn:microsoft.com/office/officeart/2005/8/layout/orgChart1"/>
    <dgm:cxn modelId="{E77171BD-7C16-49AD-99A2-A53BE2E39759}" srcId="{38A14EAE-DC13-461D-B25E-CFCDE2FB7BEE}" destId="{D32A18CC-DB59-49A2-895E-C20DB8B1BDD2}" srcOrd="0" destOrd="0" parTransId="{FAE4D0CE-9470-426E-91C1-CF4E2C1DBC82}" sibTransId="{7440A328-2347-46F0-88ED-023BC875AD50}"/>
    <dgm:cxn modelId="{DFFB50BE-399D-4B99-BE00-AC75D0A18869}" srcId="{4AED7CB9-55E0-49D2-9ACF-00949EA4C479}" destId="{6605F6FB-926D-4F6A-87D3-69E4645BAE99}" srcOrd="0" destOrd="0" parTransId="{B0A188CF-32C1-47D3-8D55-0320BDB650D6}" sibTransId="{01C7F98F-79FE-4896-81A4-8B6CE06E4464}"/>
    <dgm:cxn modelId="{B24BD4C6-6E1E-45E3-B115-0B2C65134D05}" type="presOf" srcId="{15063CAC-C707-42F9-B755-BB74A6BCED74}" destId="{D6EC866C-0560-486A-9647-472758F1F404}" srcOrd="0" destOrd="0" presId="urn:microsoft.com/office/officeart/2005/8/layout/orgChart1"/>
    <dgm:cxn modelId="{A9D1FDD7-7F82-4E5C-8CBF-9BEA3D51E8A2}" type="presOf" srcId="{21CA524F-0E74-484B-92E6-BA6DECB5AF47}" destId="{474DC1A7-B3FE-4A27-A72E-50D1AA58546D}" srcOrd="1" destOrd="0" presId="urn:microsoft.com/office/officeart/2005/8/layout/orgChart1"/>
    <dgm:cxn modelId="{38261DE2-77C4-4A61-A2C0-D028041BDB9D}" srcId="{92B96919-5306-4C3F-BD46-5754CCE58775}" destId="{B8E2FDA7-DBAC-40B8-84FD-3F7744134896}" srcOrd="1" destOrd="0" parTransId="{CD19E6E3-B126-4DDD-9293-AB5F8722A7D9}" sibTransId="{8D7D1AB3-94A4-4F3C-967E-2EFEAD5D2624}"/>
    <dgm:cxn modelId="{FE039FEA-B8C6-4B2A-ACF8-FD8B853492B6}" srcId="{38A14EAE-DC13-461D-B25E-CFCDE2FB7BEE}" destId="{21CA524F-0E74-484B-92E6-BA6DECB5AF47}" srcOrd="2" destOrd="0" parTransId="{7D02DAAD-8C85-4E26-8807-C7C4FC6919FF}" sibTransId="{460E5277-DBEE-4F63-9B20-5569EC5771F9}"/>
    <dgm:cxn modelId="{F3DE0DEE-A324-40B2-9608-22DF516AFC0A}" type="presOf" srcId="{4AED7CB9-55E0-49D2-9ACF-00949EA4C479}" destId="{281557E9-7BA7-48CD-B3B5-6794794605C5}" srcOrd="0" destOrd="0" presId="urn:microsoft.com/office/officeart/2005/8/layout/orgChart1"/>
    <dgm:cxn modelId="{FD2320F9-AED5-49AE-8C5E-71FCC8D652A5}" type="presOf" srcId="{56D07477-A766-433E-B77A-0A565CF8B6EC}" destId="{912E5E81-B5DF-47AF-B985-0371D4C594D7}" srcOrd="0" destOrd="0" presId="urn:microsoft.com/office/officeart/2005/8/layout/orgChart1"/>
    <dgm:cxn modelId="{D137A0F9-D4B2-4D6F-9336-C6B45BC37482}" type="presOf" srcId="{C33E1D0B-51DC-40BD-9740-242C2E9BF996}" destId="{3D8ABA99-DEF1-4BE6-9CB0-A240F2F0A7F6}" srcOrd="0" destOrd="0" presId="urn:microsoft.com/office/officeart/2005/8/layout/orgChart1"/>
    <dgm:cxn modelId="{AC58503C-544A-410D-B711-C80201534A4B}" type="presParOf" srcId="{281557E9-7BA7-48CD-B3B5-6794794605C5}" destId="{6184C5D0-A4E4-4C8E-96CA-C9EFC59C1CE7}" srcOrd="0" destOrd="0" presId="urn:microsoft.com/office/officeart/2005/8/layout/orgChart1"/>
    <dgm:cxn modelId="{81FEB287-AB5E-40B8-A03C-6550BBC54D90}" type="presParOf" srcId="{6184C5D0-A4E4-4C8E-96CA-C9EFC59C1CE7}" destId="{ABAC4065-119B-4582-95BA-9C7311E2FDA3}" srcOrd="0" destOrd="0" presId="urn:microsoft.com/office/officeart/2005/8/layout/orgChart1"/>
    <dgm:cxn modelId="{FB66A3A1-5CDC-4567-9D1F-6463BC9D8021}" type="presParOf" srcId="{ABAC4065-119B-4582-95BA-9C7311E2FDA3}" destId="{64F6E0E5-D0CC-4658-85E1-B432FB1B46FB}" srcOrd="0" destOrd="0" presId="urn:microsoft.com/office/officeart/2005/8/layout/orgChart1"/>
    <dgm:cxn modelId="{6F845238-8CEB-4FCC-95A5-58F2B0B3351B}" type="presParOf" srcId="{ABAC4065-119B-4582-95BA-9C7311E2FDA3}" destId="{C9FF61D9-FD88-4505-81C5-834123E3034A}" srcOrd="1" destOrd="0" presId="urn:microsoft.com/office/officeart/2005/8/layout/orgChart1"/>
    <dgm:cxn modelId="{B5F5E1B1-F11C-4E34-87BB-A6DCD8829B46}" type="presParOf" srcId="{6184C5D0-A4E4-4C8E-96CA-C9EFC59C1CE7}" destId="{83EBA272-C41C-4AF3-A1F4-B3DAAAC9FE6D}" srcOrd="1" destOrd="0" presId="urn:microsoft.com/office/officeart/2005/8/layout/orgChart1"/>
    <dgm:cxn modelId="{D9167BFE-82F8-4DEC-9608-823200B0B907}" type="presParOf" srcId="{83EBA272-C41C-4AF3-A1F4-B3DAAAC9FE6D}" destId="{3D8ABA99-DEF1-4BE6-9CB0-A240F2F0A7F6}" srcOrd="0" destOrd="0" presId="urn:microsoft.com/office/officeart/2005/8/layout/orgChart1"/>
    <dgm:cxn modelId="{C1A74E57-48E3-44C4-850B-4D5649ED8419}" type="presParOf" srcId="{83EBA272-C41C-4AF3-A1F4-B3DAAAC9FE6D}" destId="{A8D46CF0-A182-494B-9F00-431AECE5E80A}" srcOrd="1" destOrd="0" presId="urn:microsoft.com/office/officeart/2005/8/layout/orgChart1"/>
    <dgm:cxn modelId="{585AA5C2-0122-4490-84DC-4259EA4B9FDD}" type="presParOf" srcId="{A8D46CF0-A182-494B-9F00-431AECE5E80A}" destId="{2EB9753B-4512-4CA2-BB79-2FE0F5B2D909}" srcOrd="0" destOrd="0" presId="urn:microsoft.com/office/officeart/2005/8/layout/orgChart1"/>
    <dgm:cxn modelId="{935A37CD-0B11-49E6-8197-A9124EE4F70E}" type="presParOf" srcId="{2EB9753B-4512-4CA2-BB79-2FE0F5B2D909}" destId="{50AD2FEB-572F-4F60-A294-0DF8CB3E5E72}" srcOrd="0" destOrd="0" presId="urn:microsoft.com/office/officeart/2005/8/layout/orgChart1"/>
    <dgm:cxn modelId="{616DFD88-E6F0-45FE-B46A-4FE177E8CCAB}" type="presParOf" srcId="{2EB9753B-4512-4CA2-BB79-2FE0F5B2D909}" destId="{6004CEA8-1CD7-4D72-9703-19BA714D7CFC}" srcOrd="1" destOrd="0" presId="urn:microsoft.com/office/officeart/2005/8/layout/orgChart1"/>
    <dgm:cxn modelId="{192B199D-D8E9-4A11-ADE3-50AD9160578F}" type="presParOf" srcId="{A8D46CF0-A182-494B-9F00-431AECE5E80A}" destId="{D409A920-1C2E-4937-9ECC-62721E6E906C}" srcOrd="1" destOrd="0" presId="urn:microsoft.com/office/officeart/2005/8/layout/orgChart1"/>
    <dgm:cxn modelId="{469077E3-5972-4E40-8096-D0BC9C83FD8A}" type="presParOf" srcId="{D409A920-1C2E-4937-9ECC-62721E6E906C}" destId="{534FBCC1-0B77-40CF-B23A-C54E66EB75EA}" srcOrd="0" destOrd="0" presId="urn:microsoft.com/office/officeart/2005/8/layout/orgChart1"/>
    <dgm:cxn modelId="{CB55D5EA-1732-40F4-A672-78DD2360B135}" type="presParOf" srcId="{D409A920-1C2E-4937-9ECC-62721E6E906C}" destId="{F4ED6600-74C9-41AB-ABE2-22B276FF4621}" srcOrd="1" destOrd="0" presId="urn:microsoft.com/office/officeart/2005/8/layout/orgChart1"/>
    <dgm:cxn modelId="{28D49B3B-F233-4945-9A25-1971B0C0C7DC}" type="presParOf" srcId="{F4ED6600-74C9-41AB-ABE2-22B276FF4621}" destId="{37BC1CD7-A17D-4642-B8B1-6DB9633B494D}" srcOrd="0" destOrd="0" presId="urn:microsoft.com/office/officeart/2005/8/layout/orgChart1"/>
    <dgm:cxn modelId="{0008ADD8-5AC3-42F1-9E58-CC7A8131A0F5}" type="presParOf" srcId="{37BC1CD7-A17D-4642-B8B1-6DB9633B494D}" destId="{EC2B44D6-5A56-4BDD-B6D6-6781F9C9C7F8}" srcOrd="0" destOrd="0" presId="urn:microsoft.com/office/officeart/2005/8/layout/orgChart1"/>
    <dgm:cxn modelId="{31288C1F-EF88-4115-83CD-B6B64B64C437}" type="presParOf" srcId="{37BC1CD7-A17D-4642-B8B1-6DB9633B494D}" destId="{E03964CF-53BF-4D28-A657-CE5136D4FF99}" srcOrd="1" destOrd="0" presId="urn:microsoft.com/office/officeart/2005/8/layout/orgChart1"/>
    <dgm:cxn modelId="{1D1F54BF-6C9A-4358-92A0-2EE966A5CFBF}" type="presParOf" srcId="{F4ED6600-74C9-41AB-ABE2-22B276FF4621}" destId="{AC25DDB9-16A6-4E79-BC37-D4B9F0CEA0DD}" srcOrd="1" destOrd="0" presId="urn:microsoft.com/office/officeart/2005/8/layout/orgChart1"/>
    <dgm:cxn modelId="{50B45D7D-3041-4D8F-A88F-C47348D497FF}" type="presParOf" srcId="{F4ED6600-74C9-41AB-ABE2-22B276FF4621}" destId="{D2F5ED1B-0993-4262-95F5-A72454237277}" srcOrd="2" destOrd="0" presId="urn:microsoft.com/office/officeart/2005/8/layout/orgChart1"/>
    <dgm:cxn modelId="{01459437-5E93-4284-A827-A08FC33A5419}" type="presParOf" srcId="{D409A920-1C2E-4937-9ECC-62721E6E906C}" destId="{3F01D50C-FA10-4A8E-B314-FE6368ECB46B}" srcOrd="2" destOrd="0" presId="urn:microsoft.com/office/officeart/2005/8/layout/orgChart1"/>
    <dgm:cxn modelId="{845925A7-F368-44E3-BA52-9B7674D71319}" type="presParOf" srcId="{D409A920-1C2E-4937-9ECC-62721E6E906C}" destId="{0680BB23-ADB8-4AF1-B8D9-860FAF4368E0}" srcOrd="3" destOrd="0" presId="urn:microsoft.com/office/officeart/2005/8/layout/orgChart1"/>
    <dgm:cxn modelId="{468E9AD8-4B83-40A8-9DAE-B86EF37D7660}" type="presParOf" srcId="{0680BB23-ADB8-4AF1-B8D9-860FAF4368E0}" destId="{93B78C66-95F1-43EC-867D-3354B323D934}" srcOrd="0" destOrd="0" presId="urn:microsoft.com/office/officeart/2005/8/layout/orgChart1"/>
    <dgm:cxn modelId="{3FB48338-5589-44A3-87B9-49E4BA574508}" type="presParOf" srcId="{93B78C66-95F1-43EC-867D-3354B323D934}" destId="{79B45168-A6CE-406C-B549-101F11FED158}" srcOrd="0" destOrd="0" presId="urn:microsoft.com/office/officeart/2005/8/layout/orgChart1"/>
    <dgm:cxn modelId="{4FC7D959-018B-41CD-9B0E-1F7BD42633D7}" type="presParOf" srcId="{93B78C66-95F1-43EC-867D-3354B323D934}" destId="{EEBC21B4-B21B-42E4-AFBA-7E1E76593FFF}" srcOrd="1" destOrd="0" presId="urn:microsoft.com/office/officeart/2005/8/layout/orgChart1"/>
    <dgm:cxn modelId="{BA669416-FFD2-4114-BCFC-588E34F024ED}" type="presParOf" srcId="{0680BB23-ADB8-4AF1-B8D9-860FAF4368E0}" destId="{719B2B84-9E50-4092-A19B-03E6DC6856BC}" srcOrd="1" destOrd="0" presId="urn:microsoft.com/office/officeart/2005/8/layout/orgChart1"/>
    <dgm:cxn modelId="{815B0482-6BEE-4000-BB3A-0D3AB36BB1B4}" type="presParOf" srcId="{0680BB23-ADB8-4AF1-B8D9-860FAF4368E0}" destId="{1A0C0796-7D09-4F92-BE49-6F381037B606}" srcOrd="2" destOrd="0" presId="urn:microsoft.com/office/officeart/2005/8/layout/orgChart1"/>
    <dgm:cxn modelId="{EE8DF490-9BD9-4EE8-A1DA-9441B18A341A}" type="presParOf" srcId="{D409A920-1C2E-4937-9ECC-62721E6E906C}" destId="{BBC2AD9A-25F9-4462-89D1-2561BCD87801}" srcOrd="4" destOrd="0" presId="urn:microsoft.com/office/officeart/2005/8/layout/orgChart1"/>
    <dgm:cxn modelId="{D85C94D7-5C75-4F03-92C8-E24B7013F6ED}" type="presParOf" srcId="{D409A920-1C2E-4937-9ECC-62721E6E906C}" destId="{6562094A-86C4-47DB-B5EB-EA6D0DFCBC3A}" srcOrd="5" destOrd="0" presId="urn:microsoft.com/office/officeart/2005/8/layout/orgChart1"/>
    <dgm:cxn modelId="{F6F6D7B5-4C29-43BA-BEB7-F88CCAC3A249}" type="presParOf" srcId="{6562094A-86C4-47DB-B5EB-EA6D0DFCBC3A}" destId="{2D92A40E-B61B-461B-AB43-98E46B874674}" srcOrd="0" destOrd="0" presId="urn:microsoft.com/office/officeart/2005/8/layout/orgChart1"/>
    <dgm:cxn modelId="{2524AE26-1A4E-4BB9-8C6B-10011609579E}" type="presParOf" srcId="{2D92A40E-B61B-461B-AB43-98E46B874674}" destId="{5D59FB96-D096-4E14-8E8C-44C26D81C10F}" srcOrd="0" destOrd="0" presId="urn:microsoft.com/office/officeart/2005/8/layout/orgChart1"/>
    <dgm:cxn modelId="{71052EFD-72C1-4AB1-8B62-422AA01AECBC}" type="presParOf" srcId="{2D92A40E-B61B-461B-AB43-98E46B874674}" destId="{474DC1A7-B3FE-4A27-A72E-50D1AA58546D}" srcOrd="1" destOrd="0" presId="urn:microsoft.com/office/officeart/2005/8/layout/orgChart1"/>
    <dgm:cxn modelId="{D35D51C6-022C-4847-AC60-34D81B4BE70D}" type="presParOf" srcId="{6562094A-86C4-47DB-B5EB-EA6D0DFCBC3A}" destId="{D2F761D7-18AD-4C19-9CA6-0E1DC80C26CE}" srcOrd="1" destOrd="0" presId="urn:microsoft.com/office/officeart/2005/8/layout/orgChart1"/>
    <dgm:cxn modelId="{9AD90224-1E10-4418-9C8A-74AF2414DF26}" type="presParOf" srcId="{6562094A-86C4-47DB-B5EB-EA6D0DFCBC3A}" destId="{0399A275-0753-4B1E-8AD1-7C91B6E3258B}" srcOrd="2" destOrd="0" presId="urn:microsoft.com/office/officeart/2005/8/layout/orgChart1"/>
    <dgm:cxn modelId="{A56B05A8-711A-48BE-968B-EBD7541D98F7}" type="presParOf" srcId="{D409A920-1C2E-4937-9ECC-62721E6E906C}" destId="{5D32CED8-AFE2-4A98-BF0E-32B5BDE9FE9E}" srcOrd="6" destOrd="0" presId="urn:microsoft.com/office/officeart/2005/8/layout/orgChart1"/>
    <dgm:cxn modelId="{39FE132F-363E-4AC5-8CB6-24C15462187D}" type="presParOf" srcId="{D409A920-1C2E-4937-9ECC-62721E6E906C}" destId="{3936F468-6DE7-4F9C-94E1-1ABD18D5D449}" srcOrd="7" destOrd="0" presId="urn:microsoft.com/office/officeart/2005/8/layout/orgChart1"/>
    <dgm:cxn modelId="{059702D2-7974-4182-8E8A-1C7BA18F498C}" type="presParOf" srcId="{3936F468-6DE7-4F9C-94E1-1ABD18D5D449}" destId="{32D1F9CF-CB30-4E97-84AB-BA4F0A8D4F30}" srcOrd="0" destOrd="0" presId="urn:microsoft.com/office/officeart/2005/8/layout/orgChart1"/>
    <dgm:cxn modelId="{21AA635C-17DE-4633-925E-D4E4C2FDC6C7}" type="presParOf" srcId="{32D1F9CF-CB30-4E97-84AB-BA4F0A8D4F30}" destId="{D6EC866C-0560-486A-9647-472758F1F404}" srcOrd="0" destOrd="0" presId="urn:microsoft.com/office/officeart/2005/8/layout/orgChart1"/>
    <dgm:cxn modelId="{D5E5D7D9-66FB-4D21-8A75-2B18AAD3BAC9}" type="presParOf" srcId="{32D1F9CF-CB30-4E97-84AB-BA4F0A8D4F30}" destId="{0AA02649-1986-4D50-8368-B3D4BD7F1895}" srcOrd="1" destOrd="0" presId="urn:microsoft.com/office/officeart/2005/8/layout/orgChart1"/>
    <dgm:cxn modelId="{187850FE-BB8A-47AB-8C04-31393759786E}" type="presParOf" srcId="{3936F468-6DE7-4F9C-94E1-1ABD18D5D449}" destId="{932CDA7F-6393-4ADB-9BFE-6C5974E4F1A1}" srcOrd="1" destOrd="0" presId="urn:microsoft.com/office/officeart/2005/8/layout/orgChart1"/>
    <dgm:cxn modelId="{DFD84B88-37EB-454C-AA3A-40F095723E8B}" type="presParOf" srcId="{3936F468-6DE7-4F9C-94E1-1ABD18D5D449}" destId="{16C9A49C-B8FC-410E-8B64-8FBD444C088E}" srcOrd="2" destOrd="0" presId="urn:microsoft.com/office/officeart/2005/8/layout/orgChart1"/>
    <dgm:cxn modelId="{A6734E3A-4856-4F0D-80E8-7C80AF8B3556}" type="presParOf" srcId="{D409A920-1C2E-4937-9ECC-62721E6E906C}" destId="{CCA8342A-FCAA-405B-A703-FDD2424BA8AC}" srcOrd="8" destOrd="0" presId="urn:microsoft.com/office/officeart/2005/8/layout/orgChart1"/>
    <dgm:cxn modelId="{C176C557-F987-42C0-9E7D-A32486BF04A0}" type="presParOf" srcId="{D409A920-1C2E-4937-9ECC-62721E6E906C}" destId="{0E53C820-DD72-4F85-B121-AED231313961}" srcOrd="9" destOrd="0" presId="urn:microsoft.com/office/officeart/2005/8/layout/orgChart1"/>
    <dgm:cxn modelId="{903E8FA2-3CBB-4322-A126-E25BF5EC334C}" type="presParOf" srcId="{0E53C820-DD72-4F85-B121-AED231313961}" destId="{5CB2389C-9FF7-4ED8-BEA9-C643FAB759EE}" srcOrd="0" destOrd="0" presId="urn:microsoft.com/office/officeart/2005/8/layout/orgChart1"/>
    <dgm:cxn modelId="{0CEA92E0-4C45-4B98-BE5F-D97049B92362}" type="presParOf" srcId="{5CB2389C-9FF7-4ED8-BEA9-C643FAB759EE}" destId="{CF424BCA-5DF8-40D7-AFD6-8DCCFE523ED9}" srcOrd="0" destOrd="0" presId="urn:microsoft.com/office/officeart/2005/8/layout/orgChart1"/>
    <dgm:cxn modelId="{A749E20F-DFFC-487F-8F2F-106CB67C5DA3}" type="presParOf" srcId="{5CB2389C-9FF7-4ED8-BEA9-C643FAB759EE}" destId="{9847FABF-D491-4CBE-9A65-D1D896642FF6}" srcOrd="1" destOrd="0" presId="urn:microsoft.com/office/officeart/2005/8/layout/orgChart1"/>
    <dgm:cxn modelId="{8A4DB04B-214B-40D1-8332-A567381E90B6}" type="presParOf" srcId="{0E53C820-DD72-4F85-B121-AED231313961}" destId="{0D031FD8-7DAE-43AA-BD80-401D038AA6E6}" srcOrd="1" destOrd="0" presId="urn:microsoft.com/office/officeart/2005/8/layout/orgChart1"/>
    <dgm:cxn modelId="{5316FB62-5859-4A86-903F-4ABC17AC9046}" type="presParOf" srcId="{0E53C820-DD72-4F85-B121-AED231313961}" destId="{35B215CD-2224-4D50-BE5D-C034C14F9373}" srcOrd="2" destOrd="0" presId="urn:microsoft.com/office/officeart/2005/8/layout/orgChart1"/>
    <dgm:cxn modelId="{A0CB0F2C-BA07-401F-B38F-8DB6FED4B1FA}" type="presParOf" srcId="{A8D46CF0-A182-494B-9F00-431AECE5E80A}" destId="{DB9E4896-879A-4C71-8097-39152D9CF2BE}" srcOrd="2" destOrd="0" presId="urn:microsoft.com/office/officeart/2005/8/layout/orgChart1"/>
    <dgm:cxn modelId="{26661B90-00BF-4FA5-822A-31D8AD6F55BB}" type="presParOf" srcId="{83EBA272-C41C-4AF3-A1F4-B3DAAAC9FE6D}" destId="{7A2F95C6-7D9F-46A6-AF82-F0CC020B1688}" srcOrd="2" destOrd="0" presId="urn:microsoft.com/office/officeart/2005/8/layout/orgChart1"/>
    <dgm:cxn modelId="{FE423713-AC98-499F-8A98-BC1BE69F277C}" type="presParOf" srcId="{83EBA272-C41C-4AF3-A1F4-B3DAAAC9FE6D}" destId="{18937C2C-0B85-4A3F-AF6D-FFF5A6D7DFC9}" srcOrd="3" destOrd="0" presId="urn:microsoft.com/office/officeart/2005/8/layout/orgChart1"/>
    <dgm:cxn modelId="{2723FA3C-D17B-4C3A-A8CF-E39F9665D498}" type="presParOf" srcId="{18937C2C-0B85-4A3F-AF6D-FFF5A6D7DFC9}" destId="{E0908179-03FA-4C86-A636-58101BD6350C}" srcOrd="0" destOrd="0" presId="urn:microsoft.com/office/officeart/2005/8/layout/orgChart1"/>
    <dgm:cxn modelId="{F89330E7-3974-47C3-84BA-BAEF60ED43C3}" type="presParOf" srcId="{E0908179-03FA-4C86-A636-58101BD6350C}" destId="{1D1D2820-EBB2-43BE-974D-6637CA3EEF0E}" srcOrd="0" destOrd="0" presId="urn:microsoft.com/office/officeart/2005/8/layout/orgChart1"/>
    <dgm:cxn modelId="{5196BFE8-705D-451B-8244-FF1D57C67AAD}" type="presParOf" srcId="{E0908179-03FA-4C86-A636-58101BD6350C}" destId="{207B569B-0BEF-4D8F-BCC6-C15B426B961D}" srcOrd="1" destOrd="0" presId="urn:microsoft.com/office/officeart/2005/8/layout/orgChart1"/>
    <dgm:cxn modelId="{5E6CAC6E-3378-47EF-90B6-57392F2683DB}" type="presParOf" srcId="{18937C2C-0B85-4A3F-AF6D-FFF5A6D7DFC9}" destId="{4A856CD9-9BA9-4C1A-96E6-93F4464A794F}" srcOrd="1" destOrd="0" presId="urn:microsoft.com/office/officeart/2005/8/layout/orgChart1"/>
    <dgm:cxn modelId="{42FCC6DE-EBB0-4535-B620-1F4077079151}" type="presParOf" srcId="{4A856CD9-9BA9-4C1A-96E6-93F4464A794F}" destId="{9832044E-C4B2-43D9-BDB7-40EABFB5DC36}" srcOrd="0" destOrd="0" presId="urn:microsoft.com/office/officeart/2005/8/layout/orgChart1"/>
    <dgm:cxn modelId="{7024058F-988F-4274-9281-1D79E521550E}" type="presParOf" srcId="{4A856CD9-9BA9-4C1A-96E6-93F4464A794F}" destId="{3391B546-C845-41A6-BA6D-F3E766C3C2A2}" srcOrd="1" destOrd="0" presId="urn:microsoft.com/office/officeart/2005/8/layout/orgChart1"/>
    <dgm:cxn modelId="{894BFC2D-E49C-406C-AA74-FE728D125676}" type="presParOf" srcId="{3391B546-C845-41A6-BA6D-F3E766C3C2A2}" destId="{C8820267-A882-4EA4-AB5E-E75556330F2D}" srcOrd="0" destOrd="0" presId="urn:microsoft.com/office/officeart/2005/8/layout/orgChart1"/>
    <dgm:cxn modelId="{2D5BF061-9777-47B3-9657-01BF56954E3A}" type="presParOf" srcId="{C8820267-A882-4EA4-AB5E-E75556330F2D}" destId="{912E5E81-B5DF-47AF-B985-0371D4C594D7}" srcOrd="0" destOrd="0" presId="urn:microsoft.com/office/officeart/2005/8/layout/orgChart1"/>
    <dgm:cxn modelId="{0EB954E4-FB79-49A4-9850-770A377FBA1C}" type="presParOf" srcId="{C8820267-A882-4EA4-AB5E-E75556330F2D}" destId="{B497254B-0921-4E0D-B68A-49A46F8CCFEB}" srcOrd="1" destOrd="0" presId="urn:microsoft.com/office/officeart/2005/8/layout/orgChart1"/>
    <dgm:cxn modelId="{56D0BAD8-BD52-4B12-9578-406D0AB0825F}" type="presParOf" srcId="{3391B546-C845-41A6-BA6D-F3E766C3C2A2}" destId="{070F35E0-6A83-4D24-A225-9138AFDDACD4}" srcOrd="1" destOrd="0" presId="urn:microsoft.com/office/officeart/2005/8/layout/orgChart1"/>
    <dgm:cxn modelId="{28FAC46A-3092-46FC-B91C-FF178CC47758}" type="presParOf" srcId="{3391B546-C845-41A6-BA6D-F3E766C3C2A2}" destId="{1CBDD42A-98D9-4A89-91BB-BFEAD29624EB}" srcOrd="2" destOrd="0" presId="urn:microsoft.com/office/officeart/2005/8/layout/orgChart1"/>
    <dgm:cxn modelId="{A71630DB-8D56-4466-AE4F-746C7545FC02}" type="presParOf" srcId="{4A856CD9-9BA9-4C1A-96E6-93F4464A794F}" destId="{860E3D2A-69B0-4F2B-BCDB-244971BFF121}" srcOrd="2" destOrd="0" presId="urn:microsoft.com/office/officeart/2005/8/layout/orgChart1"/>
    <dgm:cxn modelId="{417782C7-6312-4205-8E10-BAE439A6388C}" type="presParOf" srcId="{4A856CD9-9BA9-4C1A-96E6-93F4464A794F}" destId="{253E50DA-B2B7-4B49-98E1-B0B37C077443}" srcOrd="3" destOrd="0" presId="urn:microsoft.com/office/officeart/2005/8/layout/orgChart1"/>
    <dgm:cxn modelId="{AD270547-4DE4-49E2-B7A0-53067415C1FB}" type="presParOf" srcId="{253E50DA-B2B7-4B49-98E1-B0B37C077443}" destId="{C4A621B4-3128-4024-AFDE-F2079127EB02}" srcOrd="0" destOrd="0" presId="urn:microsoft.com/office/officeart/2005/8/layout/orgChart1"/>
    <dgm:cxn modelId="{014D9E86-856A-4036-9B8F-39C301A52F67}" type="presParOf" srcId="{C4A621B4-3128-4024-AFDE-F2079127EB02}" destId="{808C5095-345D-4ACC-A1FD-01625E3CE390}" srcOrd="0" destOrd="0" presId="urn:microsoft.com/office/officeart/2005/8/layout/orgChart1"/>
    <dgm:cxn modelId="{6CA34191-7600-4BC6-8326-151AB7A6FA38}" type="presParOf" srcId="{C4A621B4-3128-4024-AFDE-F2079127EB02}" destId="{059EA660-2623-46BA-8AB0-5063FB17D9B4}" srcOrd="1" destOrd="0" presId="urn:microsoft.com/office/officeart/2005/8/layout/orgChart1"/>
    <dgm:cxn modelId="{B852D194-B4DE-4BE8-B8CC-9E5449E20B17}" type="presParOf" srcId="{253E50DA-B2B7-4B49-98E1-B0B37C077443}" destId="{950C0007-6A4D-4102-9C5C-10C845E70399}" srcOrd="1" destOrd="0" presId="urn:microsoft.com/office/officeart/2005/8/layout/orgChart1"/>
    <dgm:cxn modelId="{3EF6A9B2-DCCA-481E-87AD-5DB107C82DCC}" type="presParOf" srcId="{253E50DA-B2B7-4B49-98E1-B0B37C077443}" destId="{18AF96F9-E037-4983-B9D5-51FF851F9FA5}" srcOrd="2" destOrd="0" presId="urn:microsoft.com/office/officeart/2005/8/layout/orgChart1"/>
    <dgm:cxn modelId="{57E5A855-FA67-4F6F-A449-07E3B44B7DC8}" type="presParOf" srcId="{4A856CD9-9BA9-4C1A-96E6-93F4464A794F}" destId="{7355AE76-6C8A-4EA2-AECB-4994E6CC7282}" srcOrd="4" destOrd="0" presId="urn:microsoft.com/office/officeart/2005/8/layout/orgChart1"/>
    <dgm:cxn modelId="{A322C09C-3AA0-4BF0-9FA1-5F93EBD469C7}" type="presParOf" srcId="{4A856CD9-9BA9-4C1A-96E6-93F4464A794F}" destId="{6611D12B-71DD-48AF-B1BC-E2D90D459F84}" srcOrd="5" destOrd="0" presId="urn:microsoft.com/office/officeart/2005/8/layout/orgChart1"/>
    <dgm:cxn modelId="{2C2CB673-D61D-4155-80BB-15052A4AE310}" type="presParOf" srcId="{6611D12B-71DD-48AF-B1BC-E2D90D459F84}" destId="{884CEFDB-6DF2-4937-9331-965A7BABE514}" srcOrd="0" destOrd="0" presId="urn:microsoft.com/office/officeart/2005/8/layout/orgChart1"/>
    <dgm:cxn modelId="{BF8E5801-0926-4D54-812E-D1A13F44D9D8}" type="presParOf" srcId="{884CEFDB-6DF2-4937-9331-965A7BABE514}" destId="{E3D927BD-687D-4D2C-9DB2-7D1FA370B308}" srcOrd="0" destOrd="0" presId="urn:microsoft.com/office/officeart/2005/8/layout/orgChart1"/>
    <dgm:cxn modelId="{7D881871-7615-4344-A862-81F104B8006D}" type="presParOf" srcId="{884CEFDB-6DF2-4937-9331-965A7BABE514}" destId="{4B5C164D-610B-4F9C-9DA4-19DBEAEDB169}" srcOrd="1" destOrd="0" presId="urn:microsoft.com/office/officeart/2005/8/layout/orgChart1"/>
    <dgm:cxn modelId="{5AEFF3C6-386A-41F0-8890-EA9609A67197}" type="presParOf" srcId="{6611D12B-71DD-48AF-B1BC-E2D90D459F84}" destId="{EE486DCF-35B8-440B-9F96-A4DF6E6B95BE}" srcOrd="1" destOrd="0" presId="urn:microsoft.com/office/officeart/2005/8/layout/orgChart1"/>
    <dgm:cxn modelId="{A7EB7B08-5D4D-4A28-8B06-06D17123ABE8}" type="presParOf" srcId="{6611D12B-71DD-48AF-B1BC-E2D90D459F84}" destId="{F380B304-2C6A-4C03-B5FE-0633DDF8F640}" srcOrd="2" destOrd="0" presId="urn:microsoft.com/office/officeart/2005/8/layout/orgChart1"/>
    <dgm:cxn modelId="{DA7B772F-BE6D-467F-9719-8F4158766EA8}" type="presParOf" srcId="{18937C2C-0B85-4A3F-AF6D-FFF5A6D7DFC9}" destId="{4A766C53-6E26-464F-A69F-F7699FB407D2}" srcOrd="2" destOrd="0" presId="urn:microsoft.com/office/officeart/2005/8/layout/orgChart1"/>
    <dgm:cxn modelId="{27EDC91C-057E-4E88-A7CF-23D0C629C423}" type="presParOf" srcId="{6184C5D0-A4E4-4C8E-96CA-C9EFC59C1CE7}" destId="{9BCCFF93-7606-4094-A0DB-E25E5BFBD38F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355AE76-6C8A-4EA2-AECB-4994E6CC7282}">
      <dsp:nvSpPr>
        <dsp:cNvPr id="0" name=""/>
        <dsp:cNvSpPr/>
      </dsp:nvSpPr>
      <dsp:spPr>
        <a:xfrm>
          <a:off x="8840723" y="2959626"/>
          <a:ext cx="1378468" cy="23923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19619"/>
              </a:lnTo>
              <a:lnTo>
                <a:pt x="1378468" y="119619"/>
              </a:lnTo>
              <a:lnTo>
                <a:pt x="1378468" y="239238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60E3D2A-69B0-4F2B-BCDB-244971BFF121}">
      <dsp:nvSpPr>
        <dsp:cNvPr id="0" name=""/>
        <dsp:cNvSpPr/>
      </dsp:nvSpPr>
      <dsp:spPr>
        <a:xfrm>
          <a:off x="8795003" y="2959626"/>
          <a:ext cx="91440" cy="239238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39238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832044E-C4B2-43D9-BDB7-40EABFB5DC36}">
      <dsp:nvSpPr>
        <dsp:cNvPr id="0" name=""/>
        <dsp:cNvSpPr/>
      </dsp:nvSpPr>
      <dsp:spPr>
        <a:xfrm>
          <a:off x="7462255" y="2959626"/>
          <a:ext cx="1378468" cy="239238"/>
        </a:xfrm>
        <a:custGeom>
          <a:avLst/>
          <a:gdLst/>
          <a:ahLst/>
          <a:cxnLst/>
          <a:rect l="0" t="0" r="0" b="0"/>
          <a:pathLst>
            <a:path>
              <a:moveTo>
                <a:pt x="1378468" y="0"/>
              </a:moveTo>
              <a:lnTo>
                <a:pt x="1378468" y="119619"/>
              </a:lnTo>
              <a:lnTo>
                <a:pt x="0" y="119619"/>
              </a:lnTo>
              <a:lnTo>
                <a:pt x="0" y="239238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A2F95C6-7D9F-46A6-AF82-F0CC020B1688}">
      <dsp:nvSpPr>
        <dsp:cNvPr id="0" name=""/>
        <dsp:cNvSpPr/>
      </dsp:nvSpPr>
      <dsp:spPr>
        <a:xfrm>
          <a:off x="6083786" y="2150773"/>
          <a:ext cx="2756937" cy="23923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19619"/>
              </a:lnTo>
              <a:lnTo>
                <a:pt x="2756937" y="119619"/>
              </a:lnTo>
              <a:lnTo>
                <a:pt x="2756937" y="239238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CA8342A-FCAA-405B-A703-FDD2424BA8AC}">
      <dsp:nvSpPr>
        <dsp:cNvPr id="0" name=""/>
        <dsp:cNvSpPr/>
      </dsp:nvSpPr>
      <dsp:spPr>
        <a:xfrm>
          <a:off x="3325948" y="2952136"/>
          <a:ext cx="2757837" cy="24672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27109"/>
              </a:lnTo>
              <a:lnTo>
                <a:pt x="2757837" y="127109"/>
              </a:lnTo>
              <a:lnTo>
                <a:pt x="2757837" y="246728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D32CED8-AFE2-4A98-BF0E-32B5BDE9FE9E}">
      <dsp:nvSpPr>
        <dsp:cNvPr id="0" name=""/>
        <dsp:cNvSpPr/>
      </dsp:nvSpPr>
      <dsp:spPr>
        <a:xfrm>
          <a:off x="3325948" y="2952136"/>
          <a:ext cx="1379368" cy="24672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27109"/>
              </a:lnTo>
              <a:lnTo>
                <a:pt x="1379368" y="127109"/>
              </a:lnTo>
              <a:lnTo>
                <a:pt x="1379368" y="246728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BC2AD9A-25F9-4462-89D1-2561BCD87801}">
      <dsp:nvSpPr>
        <dsp:cNvPr id="0" name=""/>
        <dsp:cNvSpPr/>
      </dsp:nvSpPr>
      <dsp:spPr>
        <a:xfrm>
          <a:off x="3280228" y="2952136"/>
          <a:ext cx="91440" cy="246728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127109"/>
              </a:lnTo>
              <a:lnTo>
                <a:pt x="46619" y="127109"/>
              </a:lnTo>
              <a:lnTo>
                <a:pt x="46619" y="246728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F01D50C-FA10-4A8E-B314-FE6368ECB46B}">
      <dsp:nvSpPr>
        <dsp:cNvPr id="0" name=""/>
        <dsp:cNvSpPr/>
      </dsp:nvSpPr>
      <dsp:spPr>
        <a:xfrm>
          <a:off x="615309" y="2952136"/>
          <a:ext cx="2710639" cy="239226"/>
        </a:xfrm>
        <a:custGeom>
          <a:avLst/>
          <a:gdLst/>
          <a:ahLst/>
          <a:cxnLst/>
          <a:rect l="0" t="0" r="0" b="0"/>
          <a:pathLst>
            <a:path>
              <a:moveTo>
                <a:pt x="2710639" y="0"/>
              </a:moveTo>
              <a:lnTo>
                <a:pt x="2710639" y="119607"/>
              </a:lnTo>
              <a:lnTo>
                <a:pt x="0" y="119607"/>
              </a:lnTo>
              <a:lnTo>
                <a:pt x="0" y="239226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34FBCC1-0B77-40CF-B23A-C54E66EB75EA}">
      <dsp:nvSpPr>
        <dsp:cNvPr id="0" name=""/>
        <dsp:cNvSpPr/>
      </dsp:nvSpPr>
      <dsp:spPr>
        <a:xfrm>
          <a:off x="1926700" y="2952136"/>
          <a:ext cx="1399248" cy="249052"/>
        </a:xfrm>
        <a:custGeom>
          <a:avLst/>
          <a:gdLst/>
          <a:ahLst/>
          <a:cxnLst/>
          <a:rect l="0" t="0" r="0" b="0"/>
          <a:pathLst>
            <a:path>
              <a:moveTo>
                <a:pt x="1399248" y="0"/>
              </a:moveTo>
              <a:lnTo>
                <a:pt x="1399248" y="129433"/>
              </a:lnTo>
              <a:lnTo>
                <a:pt x="0" y="129433"/>
              </a:lnTo>
              <a:lnTo>
                <a:pt x="0" y="249052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D8ABA99-DEF1-4BE6-9CB0-A240F2F0A7F6}">
      <dsp:nvSpPr>
        <dsp:cNvPr id="0" name=""/>
        <dsp:cNvSpPr/>
      </dsp:nvSpPr>
      <dsp:spPr>
        <a:xfrm>
          <a:off x="3325948" y="2150773"/>
          <a:ext cx="2757837" cy="231747"/>
        </a:xfrm>
        <a:custGeom>
          <a:avLst/>
          <a:gdLst/>
          <a:ahLst/>
          <a:cxnLst/>
          <a:rect l="0" t="0" r="0" b="0"/>
          <a:pathLst>
            <a:path>
              <a:moveTo>
                <a:pt x="2757837" y="0"/>
              </a:moveTo>
              <a:lnTo>
                <a:pt x="2757837" y="112128"/>
              </a:lnTo>
              <a:lnTo>
                <a:pt x="0" y="112128"/>
              </a:lnTo>
              <a:lnTo>
                <a:pt x="0" y="231747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4F6E0E5-D0CC-4658-85E1-B432FB1B46FB}">
      <dsp:nvSpPr>
        <dsp:cNvPr id="0" name=""/>
        <dsp:cNvSpPr/>
      </dsp:nvSpPr>
      <dsp:spPr>
        <a:xfrm>
          <a:off x="5514171" y="1581157"/>
          <a:ext cx="1139230" cy="56961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/>
            <a:t>Tidak </a:t>
          </a:r>
          <a:r>
            <a:rPr lang="en-US" sz="700" kern="1200" err="1"/>
            <a:t>adanya</a:t>
          </a:r>
          <a:r>
            <a:rPr lang="en-US" sz="700" kern="1200"/>
            <a:t> </a:t>
          </a:r>
          <a:r>
            <a:rPr lang="en-US" sz="700" kern="1200" err="1"/>
            <a:t>sistem</a:t>
          </a:r>
          <a:r>
            <a:rPr lang="en-US" sz="700" kern="1200"/>
            <a:t> database </a:t>
          </a:r>
          <a:r>
            <a:rPr lang="en-US" sz="700" kern="1200" err="1"/>
            <a:t>terintegrasi</a:t>
          </a:r>
          <a:r>
            <a:rPr lang="en-US" sz="700" kern="1200"/>
            <a:t> </a:t>
          </a:r>
          <a:r>
            <a:rPr lang="en-US" sz="700" kern="1200" err="1"/>
            <a:t>untuk</a:t>
          </a:r>
          <a:r>
            <a:rPr lang="en-US" sz="700" kern="1200"/>
            <a:t> </a:t>
          </a:r>
          <a:r>
            <a:rPr lang="en-US" sz="700" kern="1200" err="1"/>
            <a:t>pengelolaan</a:t>
          </a:r>
          <a:r>
            <a:rPr lang="en-US" sz="700" kern="1200"/>
            <a:t> data </a:t>
          </a:r>
          <a:r>
            <a:rPr lang="en-US" sz="700" kern="1200" err="1"/>
            <a:t>inspeksi</a:t>
          </a:r>
          <a:endParaRPr lang="en-US" sz="700" kern="1200"/>
        </a:p>
      </dsp:txBody>
      <dsp:txXfrm>
        <a:off x="5514171" y="1581157"/>
        <a:ext cx="1139230" cy="569615"/>
      </dsp:txXfrm>
    </dsp:sp>
    <dsp:sp modelId="{50AD2FEB-572F-4F60-A294-0DF8CB3E5E72}">
      <dsp:nvSpPr>
        <dsp:cNvPr id="0" name=""/>
        <dsp:cNvSpPr/>
      </dsp:nvSpPr>
      <dsp:spPr>
        <a:xfrm>
          <a:off x="2756333" y="2382520"/>
          <a:ext cx="1139230" cy="569615"/>
        </a:xfrm>
        <a:prstGeom prst="rect">
          <a:avLst/>
        </a:prstGeom>
        <a:solidFill>
          <a:schemeClr val="accent6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/>
            <a:t>Faktor Technical (System/Tools)</a:t>
          </a:r>
        </a:p>
      </dsp:txBody>
      <dsp:txXfrm>
        <a:off x="2756333" y="2382520"/>
        <a:ext cx="1139230" cy="569615"/>
      </dsp:txXfrm>
    </dsp:sp>
    <dsp:sp modelId="{EC2B44D6-5A56-4BDD-B6D6-6781F9C9C7F8}">
      <dsp:nvSpPr>
        <dsp:cNvPr id="0" name=""/>
        <dsp:cNvSpPr/>
      </dsp:nvSpPr>
      <dsp:spPr>
        <a:xfrm>
          <a:off x="1357085" y="3201188"/>
          <a:ext cx="1139230" cy="56961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err="1"/>
            <a:t>Sistem</a:t>
          </a:r>
          <a:r>
            <a:rPr lang="en-US" sz="700" kern="1200"/>
            <a:t> </a:t>
          </a:r>
          <a:r>
            <a:rPr lang="en-US" sz="700" kern="1200" err="1"/>
            <a:t>tidak</a:t>
          </a:r>
          <a:r>
            <a:rPr lang="en-US" sz="700" kern="1200"/>
            <a:t> </a:t>
          </a:r>
          <a:r>
            <a:rPr lang="en-US" sz="700" kern="1200" err="1"/>
            <a:t>memiliki</a:t>
          </a:r>
          <a:r>
            <a:rPr lang="en-US" sz="700" kern="1200"/>
            <a:t> </a:t>
          </a:r>
          <a:r>
            <a:rPr lang="en-US" sz="700" kern="1200" err="1"/>
            <a:t>akuntabilitas</a:t>
          </a:r>
          <a:endParaRPr lang="en-US" sz="700" kern="1200"/>
        </a:p>
      </dsp:txBody>
      <dsp:txXfrm>
        <a:off x="1357085" y="3201188"/>
        <a:ext cx="1139230" cy="569615"/>
      </dsp:txXfrm>
    </dsp:sp>
    <dsp:sp modelId="{79B45168-A6CE-406C-B549-101F11FED158}">
      <dsp:nvSpPr>
        <dsp:cNvPr id="0" name=""/>
        <dsp:cNvSpPr/>
      </dsp:nvSpPr>
      <dsp:spPr>
        <a:xfrm>
          <a:off x="45694" y="3191363"/>
          <a:ext cx="1139230" cy="569615"/>
        </a:xfrm>
        <a:prstGeom prst="rect">
          <a:avLst/>
        </a:prstGeom>
        <a:solidFill>
          <a:srgbClr val="FF00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/>
            <a:t>Tidak </a:t>
          </a:r>
          <a:r>
            <a:rPr lang="en-US" sz="700" kern="1200" err="1"/>
            <a:t>ada</a:t>
          </a:r>
          <a:r>
            <a:rPr lang="en-US" sz="700" kern="1200"/>
            <a:t> database </a:t>
          </a:r>
          <a:r>
            <a:rPr lang="en-US" sz="700" kern="1200" err="1"/>
            <a:t>terpusat</a:t>
          </a:r>
          <a:r>
            <a:rPr lang="en-US" sz="700" kern="1200"/>
            <a:t> (single source of truth)</a:t>
          </a:r>
        </a:p>
      </dsp:txBody>
      <dsp:txXfrm>
        <a:off x="45694" y="3191363"/>
        <a:ext cx="1139230" cy="569615"/>
      </dsp:txXfrm>
    </dsp:sp>
    <dsp:sp modelId="{5D59FB96-D096-4E14-8E8C-44C26D81C10F}">
      <dsp:nvSpPr>
        <dsp:cNvPr id="0" name=""/>
        <dsp:cNvSpPr/>
      </dsp:nvSpPr>
      <dsp:spPr>
        <a:xfrm>
          <a:off x="2757233" y="3198864"/>
          <a:ext cx="1139230" cy="56961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/>
            <a:t>Tidak adanya system monitoring manajemen data secara real-time</a:t>
          </a:r>
        </a:p>
      </dsp:txBody>
      <dsp:txXfrm>
        <a:off x="2757233" y="3198864"/>
        <a:ext cx="1139230" cy="569615"/>
      </dsp:txXfrm>
    </dsp:sp>
    <dsp:sp modelId="{D6EC866C-0560-486A-9647-472758F1F404}">
      <dsp:nvSpPr>
        <dsp:cNvPr id="0" name=""/>
        <dsp:cNvSpPr/>
      </dsp:nvSpPr>
      <dsp:spPr>
        <a:xfrm>
          <a:off x="4135702" y="3198864"/>
          <a:ext cx="1139230" cy="56961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strike="noStrike" kern="1200"/>
            <a:t>Tidak adanya system backup data</a:t>
          </a:r>
        </a:p>
      </dsp:txBody>
      <dsp:txXfrm>
        <a:off x="4135702" y="3198864"/>
        <a:ext cx="1139230" cy="569615"/>
      </dsp:txXfrm>
    </dsp:sp>
    <dsp:sp modelId="{CF424BCA-5DF8-40D7-AFD6-8DCCFE523ED9}">
      <dsp:nvSpPr>
        <dsp:cNvPr id="0" name=""/>
        <dsp:cNvSpPr/>
      </dsp:nvSpPr>
      <dsp:spPr>
        <a:xfrm>
          <a:off x="5514171" y="3198864"/>
          <a:ext cx="1139230" cy="569615"/>
        </a:xfrm>
        <a:prstGeom prst="rect">
          <a:avLst/>
        </a:prstGeom>
        <a:solidFill>
          <a:srgbClr val="FF00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err="1"/>
            <a:t>Risiko</a:t>
          </a:r>
          <a:r>
            <a:rPr lang="en-US" sz="700" kern="1200"/>
            <a:t> </a:t>
          </a:r>
          <a:r>
            <a:rPr lang="en-US" sz="700" kern="1200" err="1"/>
            <a:t>keamanan</a:t>
          </a:r>
          <a:r>
            <a:rPr lang="en-US" sz="700" kern="1200"/>
            <a:t> data </a:t>
          </a:r>
          <a:r>
            <a:rPr lang="en-US" sz="700" kern="1200" err="1"/>
            <a:t>tinggi</a:t>
          </a:r>
          <a:r>
            <a:rPr lang="en-US" sz="700" kern="1200"/>
            <a:t> (</a:t>
          </a:r>
          <a:r>
            <a:rPr lang="en-US" sz="700" kern="1200" err="1"/>
            <a:t>mudah</a:t>
          </a:r>
          <a:r>
            <a:rPr lang="en-US" sz="700" kern="1200"/>
            <a:t> </a:t>
          </a:r>
          <a:r>
            <a:rPr lang="en-US" sz="700" kern="1200" err="1"/>
            <a:t>hilang</a:t>
          </a:r>
          <a:r>
            <a:rPr lang="en-US" sz="700" kern="1200"/>
            <a:t> / </a:t>
          </a:r>
          <a:r>
            <a:rPr lang="en-US" sz="700" kern="1200" err="1"/>
            <a:t>inkonsistensi</a:t>
          </a:r>
          <a:r>
            <a:rPr lang="en-US" sz="700" kern="1200"/>
            <a:t>)</a:t>
          </a:r>
          <a:endParaRPr lang="en-US" sz="700" strike="noStrike" kern="1200"/>
        </a:p>
      </dsp:txBody>
      <dsp:txXfrm>
        <a:off x="5514171" y="3198864"/>
        <a:ext cx="1139230" cy="569615"/>
      </dsp:txXfrm>
    </dsp:sp>
    <dsp:sp modelId="{1D1D2820-EBB2-43BE-974D-6637CA3EEF0E}">
      <dsp:nvSpPr>
        <dsp:cNvPr id="0" name=""/>
        <dsp:cNvSpPr/>
      </dsp:nvSpPr>
      <dsp:spPr>
        <a:xfrm>
          <a:off x="8271108" y="2390011"/>
          <a:ext cx="1139230" cy="569615"/>
        </a:xfrm>
        <a:prstGeom prst="rect">
          <a:avLst/>
        </a:prstGeom>
        <a:solidFill>
          <a:schemeClr val="accent6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/>
            <a:t>Faktor </a:t>
          </a:r>
          <a:r>
            <a:rPr lang="en-US" sz="700" kern="1200" err="1"/>
            <a:t>Operasional</a:t>
          </a:r>
          <a:r>
            <a:rPr lang="en-US" sz="700" kern="1200"/>
            <a:t> (Process/User)</a:t>
          </a:r>
        </a:p>
      </dsp:txBody>
      <dsp:txXfrm>
        <a:off x="8271108" y="2390011"/>
        <a:ext cx="1139230" cy="569615"/>
      </dsp:txXfrm>
    </dsp:sp>
    <dsp:sp modelId="{912E5E81-B5DF-47AF-B985-0371D4C594D7}">
      <dsp:nvSpPr>
        <dsp:cNvPr id="0" name=""/>
        <dsp:cNvSpPr/>
      </dsp:nvSpPr>
      <dsp:spPr>
        <a:xfrm>
          <a:off x="6892639" y="3198864"/>
          <a:ext cx="1139230" cy="56961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/>
            <a:t>User </a:t>
          </a:r>
          <a:r>
            <a:rPr lang="en-US" sz="700" kern="1200" err="1"/>
            <a:t>kesulitan</a:t>
          </a:r>
          <a:r>
            <a:rPr lang="en-US" sz="700" kern="1200"/>
            <a:t> </a:t>
          </a:r>
          <a:r>
            <a:rPr lang="en-US" sz="700" kern="1200" err="1"/>
            <a:t>dalam</a:t>
          </a:r>
          <a:r>
            <a:rPr lang="en-US" sz="700" kern="1200"/>
            <a:t> </a:t>
          </a:r>
          <a:r>
            <a:rPr lang="en-US" sz="700" kern="1200" err="1"/>
            <a:t>pencarian</a:t>
          </a:r>
          <a:r>
            <a:rPr lang="en-US" sz="700" kern="1200"/>
            <a:t> data </a:t>
          </a:r>
          <a:r>
            <a:rPr lang="en-US" sz="700" kern="1200" err="1"/>
            <a:t>dari</a:t>
          </a:r>
          <a:r>
            <a:rPr lang="en-US" sz="700" kern="1200"/>
            <a:t> </a:t>
          </a:r>
          <a:r>
            <a:rPr lang="en-US" sz="700" kern="1200" err="1"/>
            <a:t>kumpulan</a:t>
          </a:r>
          <a:r>
            <a:rPr lang="en-US" sz="700" kern="1200"/>
            <a:t> </a:t>
          </a:r>
          <a:r>
            <a:rPr lang="en-US" sz="700" kern="1200" err="1"/>
            <a:t>sumber</a:t>
          </a:r>
          <a:r>
            <a:rPr lang="en-US" sz="700" kern="1200"/>
            <a:t> data</a:t>
          </a:r>
        </a:p>
      </dsp:txBody>
      <dsp:txXfrm>
        <a:off x="6892639" y="3198864"/>
        <a:ext cx="1139230" cy="569615"/>
      </dsp:txXfrm>
    </dsp:sp>
    <dsp:sp modelId="{808C5095-345D-4ACC-A1FD-01625E3CE390}">
      <dsp:nvSpPr>
        <dsp:cNvPr id="0" name=""/>
        <dsp:cNvSpPr/>
      </dsp:nvSpPr>
      <dsp:spPr>
        <a:xfrm>
          <a:off x="8271108" y="3198864"/>
          <a:ext cx="1139230" cy="569615"/>
        </a:xfrm>
        <a:prstGeom prst="rect">
          <a:avLst/>
        </a:prstGeom>
        <a:solidFill>
          <a:srgbClr val="FF00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/>
            <a:t>User</a:t>
          </a:r>
          <a:r>
            <a:rPr lang="en-US" sz="700" kern="1200" baseline="0"/>
            <a:t> </a:t>
          </a:r>
          <a:r>
            <a:rPr lang="en-US" sz="700" kern="1200" baseline="0" err="1"/>
            <a:t>bisa</a:t>
          </a:r>
          <a:r>
            <a:rPr lang="en-US" sz="700" kern="1200" baseline="0"/>
            <a:t> </a:t>
          </a:r>
          <a:r>
            <a:rPr lang="en-US" sz="700" kern="1200" baseline="0" err="1"/>
            <a:t>mengakses</a:t>
          </a:r>
          <a:r>
            <a:rPr lang="en-US" sz="700" kern="1200" baseline="0"/>
            <a:t> dan </a:t>
          </a:r>
          <a:r>
            <a:rPr lang="en-US" sz="700" kern="1200" baseline="0" err="1"/>
            <a:t>mengubah</a:t>
          </a:r>
          <a:r>
            <a:rPr lang="en-US" sz="700" kern="1200" baseline="0"/>
            <a:t> data di </a:t>
          </a:r>
          <a:r>
            <a:rPr lang="en-US" sz="700" kern="1200" baseline="0" err="1"/>
            <a:t>luar</a:t>
          </a:r>
          <a:r>
            <a:rPr lang="en-US" sz="700" kern="1200" baseline="0"/>
            <a:t> </a:t>
          </a:r>
          <a:r>
            <a:rPr lang="en-US" sz="700" kern="1200" baseline="0" err="1"/>
            <a:t>wewenangnya</a:t>
          </a:r>
          <a:endParaRPr lang="en-US" sz="700" kern="1200"/>
        </a:p>
      </dsp:txBody>
      <dsp:txXfrm>
        <a:off x="8271108" y="3198864"/>
        <a:ext cx="1139230" cy="569615"/>
      </dsp:txXfrm>
    </dsp:sp>
    <dsp:sp modelId="{E3D927BD-687D-4D2C-9DB2-7D1FA370B308}">
      <dsp:nvSpPr>
        <dsp:cNvPr id="0" name=""/>
        <dsp:cNvSpPr/>
      </dsp:nvSpPr>
      <dsp:spPr>
        <a:xfrm>
          <a:off x="9649577" y="3198864"/>
          <a:ext cx="1139230" cy="56961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/>
            <a:t>User</a:t>
          </a:r>
          <a:r>
            <a:rPr lang="en-US" sz="700" kern="1200" baseline="0"/>
            <a:t> </a:t>
          </a:r>
          <a:r>
            <a:rPr lang="en-US" sz="700" kern="1200" baseline="0" err="1"/>
            <a:t>dapat</a:t>
          </a:r>
          <a:r>
            <a:rPr lang="en-US" sz="700" kern="1200" baseline="0"/>
            <a:t> </a:t>
          </a:r>
          <a:r>
            <a:rPr lang="en-US" sz="700" kern="1200" baseline="0" err="1"/>
            <a:t>menginput</a:t>
          </a:r>
          <a:r>
            <a:rPr lang="en-US" sz="700" kern="1200" baseline="0"/>
            <a:t> data </a:t>
          </a:r>
          <a:r>
            <a:rPr lang="en-US" sz="700" kern="1200" baseline="0" err="1"/>
            <a:t>tanpa</a:t>
          </a:r>
          <a:r>
            <a:rPr lang="en-US" sz="700" kern="1200" baseline="0"/>
            <a:t> </a:t>
          </a:r>
          <a:r>
            <a:rPr lang="en-US" sz="700" kern="1200" baseline="0" err="1"/>
            <a:t>mengikuti</a:t>
          </a:r>
          <a:r>
            <a:rPr lang="en-US" sz="700" kern="1200" baseline="0"/>
            <a:t> </a:t>
          </a:r>
          <a:r>
            <a:rPr lang="en-US" sz="700" kern="1200" baseline="0" err="1"/>
            <a:t>prosedur</a:t>
          </a:r>
          <a:r>
            <a:rPr lang="en-US" sz="700" kern="1200" baseline="0"/>
            <a:t> </a:t>
          </a:r>
          <a:r>
            <a:rPr lang="en-US" sz="700" kern="1200" baseline="0" err="1"/>
            <a:t>baku</a:t>
          </a:r>
          <a:endParaRPr lang="en-US" sz="700" kern="1200"/>
        </a:p>
      </dsp:txBody>
      <dsp:txXfrm>
        <a:off x="9649577" y="3198864"/>
        <a:ext cx="1139230" cy="56961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42353</cdr:x>
      <cdr:y>0.13354</cdr:y>
    </cdr:from>
    <cdr:to>
      <cdr:x>0.57333</cdr:x>
      <cdr:y>0.46154</cdr:y>
    </cdr:to>
    <cdr:sp macro="" textlink="">
      <cdr:nvSpPr>
        <cdr:cNvPr id="2" name="Arrow: Down 1">
          <a:extLst xmlns:a="http://schemas.openxmlformats.org/drawingml/2006/main">
            <a:ext uri="{FF2B5EF4-FFF2-40B4-BE49-F238E27FC236}">
              <a16:creationId xmlns:a16="http://schemas.microsoft.com/office/drawing/2014/main" id="{CA88C65B-4C7D-3D02-CE09-33118792D57D}"/>
            </a:ext>
          </a:extLst>
        </cdr:cNvPr>
        <cdr:cNvSpPr/>
      </cdr:nvSpPr>
      <cdr:spPr>
        <a:xfrm xmlns:a="http://schemas.openxmlformats.org/drawingml/2006/main">
          <a:off x="2303454" y="215438"/>
          <a:ext cx="814683" cy="529163"/>
        </a:xfrm>
        <a:prstGeom xmlns:a="http://schemas.openxmlformats.org/drawingml/2006/main" prst="downArrow">
          <a:avLst/>
        </a:prstGeom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15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pPr algn="ctr"/>
          <a:r>
            <a:rPr lang="en-US" sz="700" kern="1200" dirty="0"/>
            <a:t>100%</a:t>
          </a:r>
          <a:endParaRPr lang="en-ID" sz="700" kern="1200" dirty="0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C15810F-859D-4934-9604-E128E311FCA2}" type="datetimeFigureOut">
              <a:rPr lang="en-ID" smtClean="0"/>
              <a:t>23/10/2025</a:t>
            </a:fld>
            <a:endParaRPr lang="en-ID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D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BBE674E-2CED-43D3-BF6B-0EE38E0CD411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80792663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BBE674E-2CED-43D3-BF6B-0EE38E0CD411}" type="slidenum">
              <a:rPr lang="en-ID" smtClean="0"/>
              <a:t>1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54542952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4A4BAEC-C845-BCB1-97E6-9E8C2E38FA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F8B99D4-3949-828D-718C-18BFFB55D2C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7BD346E-D3C7-1110-6FBC-75E9CF26DF6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D63EBA-D78E-74D8-8686-B13C013F723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BBE674E-2CED-43D3-BF6B-0EE38E0CD411}" type="slidenum">
              <a:rPr lang="en-ID" smtClean="0"/>
              <a:t>2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91411314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DF48B3D-7C53-C763-86FE-051F47FAF9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0D1FD58-BF18-A2D5-A2F8-9123D084AB1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BA0D24A-5C52-5DBD-5B00-677F9737445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012AD1D-47DB-734C-D985-A0A575CBE0B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BBE674E-2CED-43D3-BF6B-0EE38E0CD411}" type="slidenum">
              <a:rPr lang="en-ID" smtClean="0"/>
              <a:t>3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08552253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75BE9F-AB48-A78E-0679-DC3FDA5B963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D4B435F-44AC-C5CA-B23E-C18AB59B18D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CE916FC-D6FB-DCB4-1584-903ACDF12E3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8A3B06-6343-E88D-EDDD-AC4DC2EDF7D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BBE674E-2CED-43D3-BF6B-0EE38E0CD411}" type="slidenum">
              <a:rPr lang="en-ID" smtClean="0"/>
              <a:t>4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37578750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B5B0961-DFB6-4786-63E2-85D34B2162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4AD2F03-CFA6-D99A-022F-ABB1C5B6365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69E0BE5-6418-D307-82BA-0F1FC36ED34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E2A0376-DF13-9EB2-B9B1-43A7045F47C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BBE674E-2CED-43D3-BF6B-0EE38E0CD411}" type="slidenum">
              <a:rPr lang="en-ID" smtClean="0"/>
              <a:t>5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62418908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DA3CC60-E1F4-CBB1-4D8D-D3D696DFA5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F84E9D8-4BE1-85B0-188F-87929659A5A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135AA00-26B3-B8D7-E998-35CD1728714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2B17310-EFD7-2D4E-F711-66759625B0F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BBE674E-2CED-43D3-BF6B-0EE38E0CD411}" type="slidenum">
              <a:rPr lang="en-ID" smtClean="0"/>
              <a:t>6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0588544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C99708F-AD8D-4E42-5213-BEF4551D192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79207F7-471F-4B04-1E27-F9F953C3DA7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A90AD0F-F4FB-EDFE-8FD7-8545676447A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1191531-C047-E377-A8F5-E307D7A2DA9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BBE674E-2CED-43D3-BF6B-0EE38E0CD411}" type="slidenum">
              <a:rPr lang="en-ID" smtClean="0"/>
              <a:t>7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90941420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BBE674E-2CED-43D3-BF6B-0EE38E0CD411}" type="slidenum">
              <a:rPr lang="en-ID" smtClean="0"/>
              <a:t>20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0915315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26.xml"/><Relationship Id="rId7" Type="http://schemas.openxmlformats.org/officeDocument/2006/relationships/image" Target="../media/image5.emf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oleObject" Target="../embeddings/oleObject5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7.xml"/><Relationship Id="rId9" Type="http://schemas.openxmlformats.org/officeDocument/2006/relationships/image" Target="../media/image7.pn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4.png"/><Relationship Id="rId3" Type="http://schemas.openxmlformats.org/officeDocument/2006/relationships/tags" Target="../tags/tag30.xml"/><Relationship Id="rId7" Type="http://schemas.openxmlformats.org/officeDocument/2006/relationships/image" Target="../media/image9.png"/><Relationship Id="rId12" Type="http://schemas.openxmlformats.org/officeDocument/2006/relationships/image" Target="../media/image13.png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8.emf"/><Relationship Id="rId11" Type="http://schemas.openxmlformats.org/officeDocument/2006/relationships/image" Target="../media/image12.png"/><Relationship Id="rId5" Type="http://schemas.openxmlformats.org/officeDocument/2006/relationships/oleObject" Target="../embeddings/oleObject6.bin"/><Relationship Id="rId10" Type="http://schemas.openxmlformats.org/officeDocument/2006/relationships/image" Target="../media/image6.png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11.png"/><Relationship Id="rId14" Type="http://schemas.openxmlformats.org/officeDocument/2006/relationships/image" Target="../media/image15.emf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13" Type="http://schemas.openxmlformats.org/officeDocument/2006/relationships/image" Target="../media/image19.png"/><Relationship Id="rId18" Type="http://schemas.openxmlformats.org/officeDocument/2006/relationships/image" Target="../media/image23.png"/><Relationship Id="rId3" Type="http://schemas.openxmlformats.org/officeDocument/2006/relationships/tags" Target="../tags/tag33.xml"/><Relationship Id="rId7" Type="http://schemas.openxmlformats.org/officeDocument/2006/relationships/image" Target="../media/image8.emf"/><Relationship Id="rId12" Type="http://schemas.openxmlformats.org/officeDocument/2006/relationships/image" Target="../media/image18.png"/><Relationship Id="rId17" Type="http://schemas.openxmlformats.org/officeDocument/2006/relationships/image" Target="../media/image22.svg"/><Relationship Id="rId2" Type="http://schemas.openxmlformats.org/officeDocument/2006/relationships/tags" Target="../tags/tag32.xml"/><Relationship Id="rId16" Type="http://schemas.openxmlformats.org/officeDocument/2006/relationships/image" Target="../media/image21.png"/><Relationship Id="rId1" Type="http://schemas.openxmlformats.org/officeDocument/2006/relationships/tags" Target="../tags/tag31.xml"/><Relationship Id="rId6" Type="http://schemas.openxmlformats.org/officeDocument/2006/relationships/oleObject" Target="../embeddings/oleObject7.bin"/><Relationship Id="rId11" Type="http://schemas.openxmlformats.org/officeDocument/2006/relationships/image" Target="../media/image17.png"/><Relationship Id="rId5" Type="http://schemas.openxmlformats.org/officeDocument/2006/relationships/slideMaster" Target="../slideMasters/slideMaster2.xml"/><Relationship Id="rId15" Type="http://schemas.microsoft.com/office/2007/relationships/hdphoto" Target="../media/hdphoto1.wdp"/><Relationship Id="rId10" Type="http://schemas.openxmlformats.org/officeDocument/2006/relationships/image" Target="../media/image11.png"/><Relationship Id="rId4" Type="http://schemas.openxmlformats.org/officeDocument/2006/relationships/tags" Target="../tags/tag34.xml"/><Relationship Id="rId9" Type="http://schemas.openxmlformats.org/officeDocument/2006/relationships/image" Target="../media/image10.png"/><Relationship Id="rId14" Type="http://schemas.openxmlformats.org/officeDocument/2006/relationships/image" Target="../media/image20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5" Type="http://schemas.openxmlformats.org/officeDocument/2006/relationships/image" Target="../media/image24.emf"/><Relationship Id="rId4" Type="http://schemas.openxmlformats.org/officeDocument/2006/relationships/oleObject" Target="../embeddings/oleObject8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61.xml"/><Relationship Id="rId7" Type="http://schemas.openxmlformats.org/officeDocument/2006/relationships/image" Target="../media/image5.emf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6" Type="http://schemas.openxmlformats.org/officeDocument/2006/relationships/oleObject" Target="../embeddings/oleObject5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62.xml"/><Relationship Id="rId9" Type="http://schemas.openxmlformats.org/officeDocument/2006/relationships/image" Target="../media/image7.pn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4.png"/><Relationship Id="rId3" Type="http://schemas.openxmlformats.org/officeDocument/2006/relationships/tags" Target="../tags/tag65.xml"/><Relationship Id="rId7" Type="http://schemas.openxmlformats.org/officeDocument/2006/relationships/image" Target="../media/image9.png"/><Relationship Id="rId12" Type="http://schemas.openxmlformats.org/officeDocument/2006/relationships/image" Target="../media/image13.png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6" Type="http://schemas.openxmlformats.org/officeDocument/2006/relationships/image" Target="../media/image8.emf"/><Relationship Id="rId11" Type="http://schemas.openxmlformats.org/officeDocument/2006/relationships/image" Target="../media/image12.png"/><Relationship Id="rId5" Type="http://schemas.openxmlformats.org/officeDocument/2006/relationships/oleObject" Target="../embeddings/oleObject6.bin"/><Relationship Id="rId10" Type="http://schemas.openxmlformats.org/officeDocument/2006/relationships/image" Target="../media/image6.png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11.png"/><Relationship Id="rId14" Type="http://schemas.openxmlformats.org/officeDocument/2006/relationships/image" Target="../media/image15.emf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13" Type="http://schemas.openxmlformats.org/officeDocument/2006/relationships/image" Target="../media/image19.png"/><Relationship Id="rId18" Type="http://schemas.openxmlformats.org/officeDocument/2006/relationships/image" Target="../media/image23.png"/><Relationship Id="rId3" Type="http://schemas.openxmlformats.org/officeDocument/2006/relationships/tags" Target="../tags/tag68.xml"/><Relationship Id="rId7" Type="http://schemas.openxmlformats.org/officeDocument/2006/relationships/image" Target="../media/image8.emf"/><Relationship Id="rId12" Type="http://schemas.openxmlformats.org/officeDocument/2006/relationships/image" Target="../media/image18.png"/><Relationship Id="rId17" Type="http://schemas.openxmlformats.org/officeDocument/2006/relationships/image" Target="../media/image22.svg"/><Relationship Id="rId2" Type="http://schemas.openxmlformats.org/officeDocument/2006/relationships/tags" Target="../tags/tag67.xml"/><Relationship Id="rId16" Type="http://schemas.openxmlformats.org/officeDocument/2006/relationships/image" Target="../media/image21.png"/><Relationship Id="rId1" Type="http://schemas.openxmlformats.org/officeDocument/2006/relationships/tags" Target="../tags/tag66.xml"/><Relationship Id="rId6" Type="http://schemas.openxmlformats.org/officeDocument/2006/relationships/oleObject" Target="../embeddings/oleObject7.bin"/><Relationship Id="rId11" Type="http://schemas.openxmlformats.org/officeDocument/2006/relationships/image" Target="../media/image17.png"/><Relationship Id="rId5" Type="http://schemas.openxmlformats.org/officeDocument/2006/relationships/slideMaster" Target="../slideMasters/slideMaster3.xml"/><Relationship Id="rId15" Type="http://schemas.microsoft.com/office/2007/relationships/hdphoto" Target="../media/hdphoto1.wdp"/><Relationship Id="rId10" Type="http://schemas.openxmlformats.org/officeDocument/2006/relationships/image" Target="../media/image11.png"/><Relationship Id="rId4" Type="http://schemas.openxmlformats.org/officeDocument/2006/relationships/tags" Target="../tags/tag69.xml"/><Relationship Id="rId9" Type="http://schemas.openxmlformats.org/officeDocument/2006/relationships/image" Target="../media/image10.png"/><Relationship Id="rId14" Type="http://schemas.openxmlformats.org/officeDocument/2006/relationships/image" Target="../media/image20.pn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5" Type="http://schemas.openxmlformats.org/officeDocument/2006/relationships/image" Target="../media/image24.emf"/><Relationship Id="rId4" Type="http://schemas.openxmlformats.org/officeDocument/2006/relationships/oleObject" Target="../embeddings/oleObject8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420283"/>
            <a:ext cx="5181600" cy="98001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0" y="2590800"/>
            <a:ext cx="4267200" cy="11684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048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096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9144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2192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5240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8288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1337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4385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0/23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22941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0/23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30569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419600" y="183092"/>
            <a:ext cx="1371600" cy="3901017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04800" y="183092"/>
            <a:ext cx="4013200" cy="390101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0/23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401079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9433752"/>
              </p:ext>
            </p:extLst>
          </p:nvPr>
        </p:nvGraphicFramePr>
        <p:xfrm>
          <a:off x="2161" y="1630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30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Content Placeholder 8">
            <a:extLst>
              <a:ext uri="{FF2B5EF4-FFF2-40B4-BE49-F238E27FC236}">
                <a16:creationId xmlns:a16="http://schemas.microsoft.com/office/drawing/2014/main" id="{508805E9-75A1-0AA7-B18B-65E887D4BED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83" b="10659"/>
          <a:stretch/>
        </p:blipFill>
        <p:spPr>
          <a:xfrm>
            <a:off x="-16670" y="1"/>
            <a:ext cx="12206253" cy="6371201"/>
          </a:xfrm>
          <a:prstGeom prst="rect">
            <a:avLst/>
          </a:prstGeom>
        </p:spPr>
      </p:pic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C578D6D-FF3C-434F-AD21-7BD9339CD92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5979" cy="161974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65" b="1" i="0" baseline="0" dirty="0" err="1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gray">
          <a:xfrm>
            <a:off x="5673810" y="1890275"/>
            <a:ext cx="6059431" cy="1097223"/>
          </a:xfrm>
          <a:prstGeom prst="rect">
            <a:avLst/>
          </a:prstGeom>
        </p:spPr>
        <p:txBody>
          <a:bodyPr vert="horz" wrap="square">
            <a:spAutoFit/>
          </a:bodyPr>
          <a:lstStyle>
            <a:lvl1pPr algn="ctr">
              <a:defRPr sz="3265" b="1" baseline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5503384" y="2980525"/>
            <a:ext cx="6396710" cy="385490"/>
          </a:xfrm>
          <a:prstGeom prst="rect">
            <a:avLst/>
          </a:prstGeom>
        </p:spPr>
        <p:txBody>
          <a:bodyPr wrap="square">
            <a:spAutoFit/>
          </a:bodyPr>
          <a:lstStyle>
            <a:lvl1pPr algn="ctr">
              <a:defRPr sz="1905" baseline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19" name="Document type" hidden="1"/>
          <p:cNvSpPr txBox="1">
            <a:spLocks noChangeArrowheads="1"/>
          </p:cNvSpPr>
          <p:nvPr/>
        </p:nvSpPr>
        <p:spPr bwMode="gray">
          <a:xfrm>
            <a:off x="710750" y="4952105"/>
            <a:ext cx="6714778" cy="299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r>
              <a:rPr lang="en-US" sz="1905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ocument type</a:t>
            </a:r>
            <a:endParaRPr lang="en-US" sz="2449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Date" hidden="1"/>
          <p:cNvSpPr txBox="1">
            <a:spLocks noChangeArrowheads="1"/>
          </p:cNvSpPr>
          <p:nvPr/>
        </p:nvSpPr>
        <p:spPr bwMode="gray">
          <a:xfrm>
            <a:off x="710750" y="5304668"/>
            <a:ext cx="6714778" cy="299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905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ate</a:t>
            </a:r>
            <a:endParaRPr lang="en-US" sz="2449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Disclaimer-PERTAMINA_CF_PRD085" hidden="1"/>
          <p:cNvSpPr>
            <a:spLocks noChangeArrowheads="1"/>
          </p:cNvSpPr>
          <p:nvPr/>
        </p:nvSpPr>
        <p:spPr bwMode="gray">
          <a:xfrm>
            <a:off x="710750" y="6120762"/>
            <a:ext cx="5997729" cy="3420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r>
              <a:rPr lang="en-US" sz="1089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ONFIDENTIAL AND PROPRIETARY</a:t>
            </a:r>
          </a:p>
          <a:p>
            <a:r>
              <a:rPr lang="en-US" sz="1089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ny use of this material without specific permission of PERTAMINA is strictly prohibited</a:t>
            </a:r>
            <a:endParaRPr lang="en-US" sz="2449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34268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73196703"/>
              </p:ext>
            </p:extLst>
          </p:nvPr>
        </p:nvGraphicFramePr>
        <p:xfrm>
          <a:off x="2161" y="1630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1" y="1630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5F0FF917-955B-4162-ABCA-45D36098D6D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84" b="1" i="0" baseline="0" dirty="0" err="1">
              <a:solidFill>
                <a:schemeClr val="tx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41" name="Do not remove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7278" cy="12958"/>
          </a:xfrm>
          <a:prstGeom prst="octagon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76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33961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61" y="1630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24" imgH="526" progId="TCLayout.ActiveDocument.1">
                  <p:embed/>
                </p:oleObj>
              </mc:Choice>
              <mc:Fallback>
                <p:oleObj name="think-cell Slide" r:id="rId6" imgW="524" imgH="5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61" y="1630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5F0FF917-955B-4162-ABCA-45D36098D6D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84" b="1" i="0" baseline="0" dirty="0" err="1">
              <a:solidFill>
                <a:schemeClr val="tx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SlideLogoSeparator">
            <a:extLst>
              <a:ext uri="{FF2B5EF4-FFF2-40B4-BE49-F238E27FC236}">
                <a16:creationId xmlns:a16="http://schemas.microsoft.com/office/drawing/2014/main" id="{8A93E59B-754F-4650-BACE-568E3D4A2E44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10701746" y="6367111"/>
            <a:ext cx="40891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913617"/>
            <a:r>
              <a:rPr lang="en-US" sz="1224">
                <a:solidFill>
                  <a:srgbClr val="000000"/>
                </a:solidFill>
                <a:latin typeface="Arial"/>
              </a:rPr>
              <a:t>|</a:t>
            </a:r>
          </a:p>
        </p:txBody>
      </p:sp>
      <p:sp>
        <p:nvSpPr>
          <p:cNvPr id="41" name="Do not remove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7278" cy="12958"/>
          </a:xfrm>
          <a:prstGeom prst="octagon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76" err="1">
              <a:solidFill>
                <a:schemeClr val="tx1"/>
              </a:solidFill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161992" y="234864"/>
            <a:ext cx="11725484" cy="397704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/>
        </p:nvSpPr>
        <p:spPr bwMode="gray">
          <a:xfrm>
            <a:off x="10919000" y="6381039"/>
            <a:ext cx="173372" cy="16813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1071" smtClean="0">
                <a:solidFill>
                  <a:srgbClr val="000000"/>
                </a:solidFill>
              </a:rPr>
              <a:pPr/>
              <a:t>‹#›</a:t>
            </a:fld>
            <a:endParaRPr lang="en-US" sz="1071" dirty="0">
              <a:solidFill>
                <a:srgbClr val="000000"/>
              </a:solidFill>
            </a:endParaRPr>
          </a:p>
        </p:txBody>
      </p:sp>
      <p:pic>
        <p:nvPicPr>
          <p:cNvPr id="12" name="Picture 3" descr="Picture 3">
            <a:extLst>
              <a:ext uri="{FF2B5EF4-FFF2-40B4-BE49-F238E27FC236}">
                <a16:creationId xmlns:a16="http://schemas.microsoft.com/office/drawing/2014/main" id="{E9B0F45E-F6C1-49CE-9B98-AE498492710C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753599" y="-36090"/>
            <a:ext cx="2438400" cy="693923"/>
          </a:xfrm>
          <a:prstGeom prst="rect">
            <a:avLst/>
          </a:prstGeom>
          <a:ln w="12700">
            <a:miter lim="400000"/>
          </a:ln>
        </p:spPr>
      </p:pic>
      <p:pic>
        <p:nvPicPr>
          <p:cNvPr id="17" name="Picture 3" descr="Picture 3">
            <a:extLst>
              <a:ext uri="{FF2B5EF4-FFF2-40B4-BE49-F238E27FC236}">
                <a16:creationId xmlns:a16="http://schemas.microsoft.com/office/drawing/2014/main" id="{523CEDFB-577D-4454-BC36-5CA046755DE3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753599" y="-36090"/>
            <a:ext cx="2438400" cy="693923"/>
          </a:xfrm>
          <a:prstGeom prst="rect">
            <a:avLst/>
          </a:prstGeom>
          <a:ln w="12700">
            <a:miter lim="400000"/>
          </a:ln>
        </p:spPr>
      </p:pic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C04002F8-518E-486B-882E-39F38EB1851A}"/>
              </a:ext>
            </a:extLst>
          </p:cNvPr>
          <p:cNvSpPr/>
          <p:nvPr userDrawn="1"/>
        </p:nvSpPr>
        <p:spPr>
          <a:xfrm>
            <a:off x="10100878" y="35635"/>
            <a:ext cx="2002034" cy="566911"/>
          </a:xfrm>
          <a:custGeom>
            <a:avLst/>
            <a:gdLst>
              <a:gd name="connsiteX0" fmla="*/ 0 w 1962150"/>
              <a:gd name="connsiteY0" fmla="*/ 82550 h 555625"/>
              <a:gd name="connsiteX1" fmla="*/ 260350 w 1962150"/>
              <a:gd name="connsiteY1" fmla="*/ 498475 h 555625"/>
              <a:gd name="connsiteX2" fmla="*/ 882650 w 1962150"/>
              <a:gd name="connsiteY2" fmla="*/ 555625 h 555625"/>
              <a:gd name="connsiteX3" fmla="*/ 1962150 w 1962150"/>
              <a:gd name="connsiteY3" fmla="*/ 498475 h 555625"/>
              <a:gd name="connsiteX4" fmla="*/ 1879600 w 1962150"/>
              <a:gd name="connsiteY4" fmla="*/ 0 h 555625"/>
              <a:gd name="connsiteX5" fmla="*/ 0 w 1962150"/>
              <a:gd name="connsiteY5" fmla="*/ 82550 h 555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62150" h="555625">
                <a:moveTo>
                  <a:pt x="0" y="82550"/>
                </a:moveTo>
                <a:lnTo>
                  <a:pt x="260350" y="498475"/>
                </a:lnTo>
                <a:lnTo>
                  <a:pt x="882650" y="555625"/>
                </a:lnTo>
                <a:lnTo>
                  <a:pt x="1962150" y="498475"/>
                </a:lnTo>
                <a:lnTo>
                  <a:pt x="1879600" y="0"/>
                </a:lnTo>
                <a:lnTo>
                  <a:pt x="0" y="82550"/>
                </a:lnTo>
                <a:close/>
              </a:path>
            </a:pathLst>
          </a:cu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 dirty="0" err="1">
              <a:solidFill>
                <a:schemeClr val="tx1"/>
              </a:solidFill>
            </a:endParaRPr>
          </a:p>
        </p:txBody>
      </p:sp>
      <p:pic>
        <p:nvPicPr>
          <p:cNvPr id="19" name="Picture 19" descr="PT Kilang Pertamina Internasional | LinkedIn">
            <a:extLst>
              <a:ext uri="{FF2B5EF4-FFF2-40B4-BE49-F238E27FC236}">
                <a16:creationId xmlns:a16="http://schemas.microsoft.com/office/drawing/2014/main" id="{30DE3277-8A60-42E3-A59C-5096276F8412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543" b="28999"/>
          <a:stretch/>
        </p:blipFill>
        <p:spPr bwMode="auto">
          <a:xfrm>
            <a:off x="10511182" y="29155"/>
            <a:ext cx="1468242" cy="593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193148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F972F5-5528-4AB5-999A-63726E10DF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1992" y="234864"/>
            <a:ext cx="11725484" cy="397704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61D511D-18CF-4C6F-B303-0941853101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50705" y="2212366"/>
            <a:ext cx="5853024" cy="167449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8134218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490A61A-61D8-4B33-A31C-4AFF84D502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34436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3" imgH="423" progId="TCLayout.ActiveDocument.1">
                  <p:embed/>
                </p:oleObj>
              </mc:Choice>
              <mc:Fallback>
                <p:oleObj name="think-cell Slide" r:id="rId5" imgW="423" imgH="42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490A61A-61D8-4B33-A31C-4AFF84D502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Rectangle 30" hidden="1">
            <a:extLst>
              <a:ext uri="{FF2B5EF4-FFF2-40B4-BE49-F238E27FC236}">
                <a16:creationId xmlns:a16="http://schemas.microsoft.com/office/drawing/2014/main" id="{600BF320-C5AB-4CA8-AE0F-5E09602EA0C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E39D9BB-B5B9-4D83-850B-BB456442203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l="-38" t="13934" b="10994"/>
          <a:stretch/>
        </p:blipFill>
        <p:spPr>
          <a:xfrm>
            <a:off x="1" y="0"/>
            <a:ext cx="12192000" cy="6857898"/>
          </a:xfrm>
          <a:prstGeom prst="rect">
            <a:avLst/>
          </a:prstGeom>
        </p:spPr>
      </p:pic>
      <p:sp>
        <p:nvSpPr>
          <p:cNvPr id="9" name="Rectangle 1026">
            <a:extLst>
              <a:ext uri="{FF2B5EF4-FFF2-40B4-BE49-F238E27FC236}">
                <a16:creationId xmlns:a16="http://schemas.microsoft.com/office/drawing/2014/main" id="{59710BC1-9763-4C70-A07F-1BFB52A85158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 bwMode="gray">
          <a:xfrm>
            <a:off x="5560777" y="1852645"/>
            <a:ext cx="5938716" cy="1077218"/>
          </a:xfrm>
          <a:prstGeom prst="rect">
            <a:avLst/>
          </a:prstGeom>
        </p:spPr>
        <p:txBody>
          <a:bodyPr wrap="square">
            <a:spAutoFit/>
          </a:bodyPr>
          <a:lstStyle>
            <a:lvl1pPr algn="ctr">
              <a:defRPr sz="3200" b="1" baseline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0" name="Rectangle 1027">
            <a:extLst>
              <a:ext uri="{FF2B5EF4-FFF2-40B4-BE49-F238E27FC236}">
                <a16:creationId xmlns:a16="http://schemas.microsoft.com/office/drawing/2014/main" id="{D32700B9-524F-47E0-BA8F-AD2B9A5308CD}"/>
              </a:ext>
            </a:extLst>
          </p:cNvPr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5393746" y="2921190"/>
            <a:ext cx="6269276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algn="ctr">
              <a:defRPr sz="1867" baseline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8AAC588-214C-4600-9662-FFFDCB96499B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14545" y="2474"/>
            <a:ext cx="2077455" cy="606442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97790B37-77D4-4684-B789-4CE85039C9BA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80912" y="-121645"/>
            <a:ext cx="1631650" cy="917989"/>
          </a:xfrm>
          <a:prstGeom prst="rect">
            <a:avLst/>
          </a:prstGeom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E3A7305A-1E9D-46E9-AAF8-7627654FA589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0" y="2473"/>
            <a:ext cx="2130964" cy="606441"/>
            <a:chOff x="516436" y="1735621"/>
            <a:chExt cx="2389823" cy="680109"/>
          </a:xfrm>
        </p:grpSpPr>
        <p:pic>
          <p:nvPicPr>
            <p:cNvPr id="14" name="Picture 3" descr="Picture 3">
              <a:extLst>
                <a:ext uri="{FF2B5EF4-FFF2-40B4-BE49-F238E27FC236}">
                  <a16:creationId xmlns:a16="http://schemas.microsoft.com/office/drawing/2014/main" id="{70CA532D-E73F-4F01-9BA1-D1846AB69F5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0"/>
            <a:stretch>
              <a:fillRect/>
            </a:stretch>
          </p:blipFill>
          <p:spPr>
            <a:xfrm flipH="1">
              <a:off x="516436" y="1735621"/>
              <a:ext cx="2389823" cy="680109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46004F70-44E6-4150-AE22-3F0BC7B0B079}"/>
                </a:ext>
              </a:extLst>
            </p:cNvPr>
            <p:cNvSpPr/>
            <p:nvPr userDrawn="1"/>
          </p:nvSpPr>
          <p:spPr>
            <a:xfrm>
              <a:off x="624012" y="1797887"/>
              <a:ext cx="1922930" cy="537882"/>
            </a:xfrm>
            <a:custGeom>
              <a:avLst/>
              <a:gdLst>
                <a:gd name="connsiteX0" fmla="*/ 0 w 1922930"/>
                <a:gd name="connsiteY0" fmla="*/ 443753 h 537882"/>
                <a:gd name="connsiteX1" fmla="*/ 107577 w 1922930"/>
                <a:gd name="connsiteY1" fmla="*/ 13447 h 537882"/>
                <a:gd name="connsiteX2" fmla="*/ 1922930 w 1922930"/>
                <a:gd name="connsiteY2" fmla="*/ 0 h 537882"/>
                <a:gd name="connsiteX3" fmla="*/ 1788459 w 1922930"/>
                <a:gd name="connsiteY3" fmla="*/ 443753 h 537882"/>
                <a:gd name="connsiteX4" fmla="*/ 1613648 w 1922930"/>
                <a:gd name="connsiteY4" fmla="*/ 537882 h 537882"/>
                <a:gd name="connsiteX5" fmla="*/ 484095 w 1922930"/>
                <a:gd name="connsiteY5" fmla="*/ 524435 h 537882"/>
                <a:gd name="connsiteX6" fmla="*/ 0 w 1922930"/>
                <a:gd name="connsiteY6" fmla="*/ 443753 h 537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22930" h="537882">
                  <a:moveTo>
                    <a:pt x="0" y="443753"/>
                  </a:moveTo>
                  <a:lnTo>
                    <a:pt x="107577" y="13447"/>
                  </a:lnTo>
                  <a:lnTo>
                    <a:pt x="1922930" y="0"/>
                  </a:lnTo>
                  <a:lnTo>
                    <a:pt x="1788459" y="443753"/>
                  </a:lnTo>
                  <a:lnTo>
                    <a:pt x="1613648" y="537882"/>
                  </a:lnTo>
                  <a:lnTo>
                    <a:pt x="484095" y="524435"/>
                  </a:lnTo>
                  <a:lnTo>
                    <a:pt x="0" y="443753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tx1"/>
                </a:solidFill>
              </a:endParaRPr>
            </a:p>
          </p:txBody>
        </p:sp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51C764D1-C8F4-4A7D-9BDC-23DE0E3FD0D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/>
            <a:stretch>
              <a:fillRect/>
            </a:stretch>
          </p:blipFill>
          <p:spPr>
            <a:xfrm>
              <a:off x="724777" y="1914535"/>
              <a:ext cx="1567348" cy="280889"/>
            </a:xfrm>
            <a:prstGeom prst="rect">
              <a:avLst/>
            </a:prstGeom>
          </p:spPr>
        </p:pic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69A3CE8E-A511-4DD4-A1FE-B82EDB317BAB}"/>
              </a:ext>
            </a:extLst>
          </p:cNvPr>
          <p:cNvGrpSpPr/>
          <p:nvPr userDrawn="1"/>
        </p:nvGrpSpPr>
        <p:grpSpPr>
          <a:xfrm>
            <a:off x="-1435099" y="5477540"/>
            <a:ext cx="13754100" cy="800725"/>
            <a:chOff x="-1416070" y="5351647"/>
            <a:chExt cx="13493725" cy="785567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53A34E68-FCEB-4AA3-961F-CA54472D5182}"/>
                </a:ext>
              </a:extLst>
            </p:cNvPr>
            <p:cNvSpPr/>
            <p:nvPr userDrawn="1"/>
          </p:nvSpPr>
          <p:spPr>
            <a:xfrm>
              <a:off x="0" y="5351647"/>
              <a:ext cx="11949113" cy="785567"/>
            </a:xfrm>
            <a:prstGeom prst="rect">
              <a:avLst/>
            </a:prstGeom>
            <a:solidFill>
              <a:schemeClr val="tx1">
                <a:lumMod val="75000"/>
                <a:lumOff val="25000"/>
                <a:alpha val="87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117836" tIns="117836" rIns="117836" bIns="117836" rtlCol="0" anchor="ctr">
              <a:noAutofit/>
            </a:bodyPr>
            <a:lstStyle/>
            <a:p>
              <a:pPr defTabSz="1080873">
                <a:defRPr/>
              </a:pPr>
              <a:endParaRPr lang="en-US" sz="1300">
                <a:solidFill>
                  <a:srgbClr val="C00000"/>
                </a:solidFill>
                <a:ea typeface="ＭＳ Ｐゴシック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9C6D9942-904B-47D8-B601-0A4D99280EE7}"/>
                </a:ext>
              </a:extLst>
            </p:cNvPr>
            <p:cNvSpPr/>
            <p:nvPr userDrawn="1"/>
          </p:nvSpPr>
          <p:spPr>
            <a:xfrm>
              <a:off x="5974556" y="5351647"/>
              <a:ext cx="5974563" cy="785567"/>
            </a:xfrm>
            <a:prstGeom prst="rect">
              <a:avLst/>
            </a:prstGeom>
            <a:solidFill>
              <a:schemeClr val="tx1">
                <a:lumMod val="85000"/>
                <a:lumOff val="15000"/>
                <a:alpha val="87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117836" tIns="117836" rIns="117836" bIns="117836" rtlCol="0" anchor="ctr">
              <a:noAutofit/>
            </a:bodyPr>
            <a:lstStyle/>
            <a:p>
              <a:pPr defTabSz="1080873">
                <a:defRPr/>
              </a:pPr>
              <a:endParaRPr lang="en-US" sz="1100">
                <a:solidFill>
                  <a:srgbClr val="C00000"/>
                </a:solidFill>
                <a:ea typeface="ＭＳ Ｐゴシック"/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D4425FC9-0CC8-4686-97C7-81175B8077D3}"/>
                </a:ext>
              </a:extLst>
            </p:cNvPr>
            <p:cNvSpPr txBox="1"/>
            <p:nvPr userDrawn="1"/>
          </p:nvSpPr>
          <p:spPr>
            <a:xfrm>
              <a:off x="6096005" y="5467431"/>
              <a:ext cx="3577384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108087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b="1" dirty="0">
                  <a:solidFill>
                    <a:schemeClr val="bg1"/>
                  </a:solidFill>
                  <a:latin typeface="Tw Cen MT" panose="020B0602020104020603" pitchFamily="34" charset="0"/>
                  <a:ea typeface="ＭＳ Ｐゴシック"/>
                </a:rPr>
                <a:t>PT </a:t>
              </a:r>
              <a:r>
                <a:rPr lang="en-US" sz="1000" b="1" dirty="0" err="1">
                  <a:solidFill>
                    <a:schemeClr val="bg1"/>
                  </a:solidFill>
                  <a:latin typeface="Tw Cen MT" panose="020B0602020104020603" pitchFamily="34" charset="0"/>
                  <a:ea typeface="ＭＳ Ｐゴシック"/>
                </a:rPr>
                <a:t>Kilang</a:t>
              </a:r>
              <a:r>
                <a:rPr lang="en-US" sz="1000" b="1" dirty="0">
                  <a:solidFill>
                    <a:schemeClr val="bg1"/>
                  </a:solidFill>
                  <a:latin typeface="Tw Cen MT" panose="020B0602020104020603" pitchFamily="34" charset="0"/>
                  <a:ea typeface="ＭＳ Ｐゴシック"/>
                </a:rPr>
                <a:t> </a:t>
              </a:r>
              <a:r>
                <a:rPr lang="en-US" sz="1000" b="1" dirty="0" err="1">
                  <a:solidFill>
                    <a:schemeClr val="bg1"/>
                  </a:solidFill>
                  <a:latin typeface="Tw Cen MT" panose="020B0602020104020603" pitchFamily="34" charset="0"/>
                  <a:ea typeface="ＭＳ Ｐゴシック"/>
                </a:rPr>
                <a:t>Pertamina</a:t>
              </a:r>
              <a:r>
                <a:rPr lang="en-US" sz="1000" b="1" dirty="0">
                  <a:solidFill>
                    <a:schemeClr val="bg1"/>
                  </a:solidFill>
                  <a:latin typeface="Tw Cen MT" panose="020B0602020104020603" pitchFamily="34" charset="0"/>
                  <a:ea typeface="ＭＳ Ｐゴシック"/>
                </a:rPr>
                <a:t> </a:t>
              </a:r>
              <a:r>
                <a:rPr lang="en-US" sz="1000" b="1" dirty="0" err="1">
                  <a:solidFill>
                    <a:schemeClr val="bg1"/>
                  </a:solidFill>
                  <a:latin typeface="Tw Cen MT" panose="020B0602020104020603" pitchFamily="34" charset="0"/>
                  <a:ea typeface="ＭＳ Ｐゴシック"/>
                </a:rPr>
                <a:t>Internasional</a:t>
              </a:r>
              <a:endParaRPr lang="en-US" sz="1000" b="1" dirty="0">
                <a:solidFill>
                  <a:schemeClr val="bg1"/>
                </a:solidFill>
                <a:latin typeface="Tw Cen MT" panose="020B0602020104020603" pitchFamily="34" charset="0"/>
                <a:ea typeface="ＭＳ Ｐゴシック"/>
              </a:endParaRPr>
            </a:p>
            <a:p>
              <a:pPr defTabSz="108087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b="0" dirty="0">
                  <a:solidFill>
                    <a:schemeClr val="bg1"/>
                  </a:solidFill>
                  <a:latin typeface="Tw Cen MT" panose="020B0602020104020603" pitchFamily="34" charset="0"/>
                  <a:ea typeface="ＭＳ Ｐゴシック"/>
                </a:rPr>
                <a:t>Refining and Petrochemical Business Group of </a:t>
              </a:r>
              <a:r>
                <a:rPr lang="en-US" sz="1000" b="0" dirty="0" err="1">
                  <a:solidFill>
                    <a:schemeClr val="bg1"/>
                  </a:solidFill>
                  <a:latin typeface="Tw Cen MT" panose="020B0602020104020603" pitchFamily="34" charset="0"/>
                  <a:ea typeface="ＭＳ Ｐゴシック"/>
                </a:rPr>
                <a:t>Pertamina</a:t>
              </a:r>
              <a:r>
                <a:rPr lang="en-US" sz="1000" b="1" dirty="0">
                  <a:solidFill>
                    <a:schemeClr val="bg1"/>
                  </a:solidFill>
                  <a:latin typeface="Tw Cen MT" panose="020B0602020104020603" pitchFamily="34" charset="0"/>
                  <a:ea typeface="ＭＳ Ｐゴシック"/>
                </a:rPr>
                <a:t> </a:t>
              </a:r>
            </a:p>
            <a:p>
              <a:pPr defTabSz="108087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b="1" dirty="0" err="1">
                  <a:solidFill>
                    <a:schemeClr val="bg1"/>
                  </a:solidFill>
                  <a:latin typeface="Tw Cen MT" panose="020B0602020104020603" pitchFamily="34" charset="0"/>
                  <a:ea typeface="ＭＳ Ｐゴシック"/>
                </a:rPr>
                <a:t>Tahun</a:t>
              </a:r>
              <a:r>
                <a:rPr lang="en-US" sz="1000" b="1" dirty="0">
                  <a:solidFill>
                    <a:schemeClr val="bg1"/>
                  </a:solidFill>
                  <a:latin typeface="Tw Cen MT" panose="020B0602020104020603" pitchFamily="34" charset="0"/>
                  <a:ea typeface="ＭＳ Ｐゴシック"/>
                </a:rPr>
                <a:t> 2020</a:t>
              </a:r>
            </a:p>
          </p:txBody>
        </p:sp>
        <p:sp>
          <p:nvSpPr>
            <p:cNvPr id="21" name="McK Disclaimer">
              <a:extLst>
                <a:ext uri="{FF2B5EF4-FFF2-40B4-BE49-F238E27FC236}">
                  <a16:creationId xmlns:a16="http://schemas.microsoft.com/office/drawing/2014/main" id="{2757C094-F5FE-4977-A764-8D5EF7146208}"/>
                </a:ext>
              </a:extLst>
            </p:cNvPr>
            <p:cNvSpPr>
              <a:spLocks noChangeArrowheads="1"/>
            </p:cNvSpPr>
            <p:nvPr userDrawn="1">
              <p:custDataLst>
                <p:tags r:id="rId3"/>
              </p:custDataLst>
            </p:nvPr>
          </p:nvSpPr>
          <p:spPr bwMode="auto">
            <a:xfrm>
              <a:off x="9913647" y="5513138"/>
              <a:ext cx="2164008" cy="4621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defTabSz="960055" eaLnBrk="0" hangingPunct="0">
                <a:defRPr/>
              </a:pPr>
              <a:r>
                <a:rPr lang="en-US" altLang="ko-KR" sz="1000" b="1" dirty="0">
                  <a:solidFill>
                    <a:schemeClr val="bg1"/>
                  </a:solidFill>
                  <a:latin typeface="Tw Cen MT" panose="020B0602020104020603" pitchFamily="34" charset="0"/>
                  <a:ea typeface="Gulim" pitchFamily="34" charset="-127"/>
                </a:rPr>
                <a:t>Jl. Medan Merdeka Timur 1A</a:t>
              </a:r>
            </a:p>
            <a:p>
              <a:pPr defTabSz="960055" eaLnBrk="0" hangingPunct="0">
                <a:defRPr/>
              </a:pPr>
              <a:r>
                <a:rPr lang="en-US" altLang="ko-KR" sz="1000" b="1" dirty="0">
                  <a:solidFill>
                    <a:schemeClr val="bg1"/>
                  </a:solidFill>
                  <a:latin typeface="Tw Cen MT" panose="020B0602020104020603" pitchFamily="34" charset="0"/>
                  <a:ea typeface="Gulim" pitchFamily="34" charset="-127"/>
                </a:rPr>
                <a:t>Jakarta, Indonesia 10110</a:t>
              </a:r>
            </a:p>
            <a:p>
              <a:pPr defTabSz="960055" eaLnBrk="0" hangingPunct="0">
                <a:defRPr/>
              </a:pPr>
              <a:r>
                <a:rPr lang="en-US" altLang="ko-KR" sz="1000" b="1" dirty="0">
                  <a:solidFill>
                    <a:schemeClr val="bg1"/>
                  </a:solidFill>
                  <a:latin typeface="Tw Cen MT" panose="020B0602020104020603" pitchFamily="34" charset="0"/>
                  <a:ea typeface="Gulim" pitchFamily="34" charset="-127"/>
                </a:rPr>
                <a:t>Email : pcc@pertamina.com</a:t>
              </a:r>
            </a:p>
          </p:txBody>
        </p: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0EB25226-FC47-4CDB-94CA-86CDCC344FAF}"/>
                </a:ext>
              </a:extLst>
            </p:cNvPr>
            <p:cNvCxnSpPr/>
            <p:nvPr userDrawn="1"/>
          </p:nvCxnSpPr>
          <p:spPr>
            <a:xfrm flipV="1">
              <a:off x="9702174" y="5559703"/>
              <a:ext cx="0" cy="36945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4A44E648-99FD-4DC4-A674-DA194B13C505}"/>
                </a:ext>
              </a:extLst>
            </p:cNvPr>
            <p:cNvSpPr/>
            <p:nvPr userDrawn="1"/>
          </p:nvSpPr>
          <p:spPr>
            <a:xfrm>
              <a:off x="-1416070" y="5450941"/>
              <a:ext cx="7296877" cy="55455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en-US" sz="1000" dirty="0">
                  <a:solidFill>
                    <a:schemeClr val="bg1"/>
                  </a:solidFill>
                  <a:latin typeface="Tw Cen MT" panose="020B0602020104020603" pitchFamily="34" charset="0"/>
                </a:rPr>
                <a:t>RAHASIA DAN HAK MILIK (CONFIDENTIAL AND PROPRIETARY)</a:t>
              </a:r>
            </a:p>
            <a:p>
              <a:pPr algn="r"/>
              <a:r>
                <a:rPr lang="en-US" sz="1000" dirty="0" err="1">
                  <a:solidFill>
                    <a:schemeClr val="bg1"/>
                  </a:solidFill>
                  <a:latin typeface="Tw Cen MT" panose="020B0602020104020603" pitchFamily="34" charset="0"/>
                </a:rPr>
                <a:t>Dilarang</a:t>
              </a:r>
              <a:r>
                <a:rPr lang="en-US" sz="1000" dirty="0">
                  <a:solidFill>
                    <a:schemeClr val="bg1"/>
                  </a:solidFill>
                  <a:latin typeface="Tw Cen MT" panose="020B0602020104020603" pitchFamily="34" charset="0"/>
                </a:rPr>
                <a:t> </a:t>
              </a:r>
              <a:r>
                <a:rPr lang="en-US" sz="1000" dirty="0" err="1">
                  <a:solidFill>
                    <a:schemeClr val="bg1"/>
                  </a:solidFill>
                  <a:latin typeface="Tw Cen MT" panose="020B0602020104020603" pitchFamily="34" charset="0"/>
                </a:rPr>
                <a:t>menggunakan</a:t>
              </a:r>
              <a:r>
                <a:rPr lang="en-US" sz="1000" dirty="0">
                  <a:solidFill>
                    <a:schemeClr val="bg1"/>
                  </a:solidFill>
                  <a:latin typeface="Tw Cen MT" panose="020B0602020104020603" pitchFamily="34" charset="0"/>
                </a:rPr>
                <a:t> material </a:t>
              </a:r>
              <a:r>
                <a:rPr lang="en-US" sz="1000" dirty="0" err="1">
                  <a:solidFill>
                    <a:schemeClr val="bg1"/>
                  </a:solidFill>
                  <a:latin typeface="Tw Cen MT" panose="020B0602020104020603" pitchFamily="34" charset="0"/>
                </a:rPr>
                <a:t>ini</a:t>
              </a:r>
              <a:r>
                <a:rPr lang="en-US" sz="1000" dirty="0">
                  <a:solidFill>
                    <a:schemeClr val="bg1"/>
                  </a:solidFill>
                  <a:latin typeface="Tw Cen MT" panose="020B0602020104020603" pitchFamily="34" charset="0"/>
                </a:rPr>
                <a:t> </a:t>
              </a:r>
              <a:r>
                <a:rPr lang="en-US" sz="1000" dirty="0" err="1">
                  <a:solidFill>
                    <a:schemeClr val="bg1"/>
                  </a:solidFill>
                  <a:latin typeface="Tw Cen MT" panose="020B0602020104020603" pitchFamily="34" charset="0"/>
                </a:rPr>
                <a:t>untuk</a:t>
              </a:r>
              <a:r>
                <a:rPr lang="en-US" sz="1000" dirty="0">
                  <a:solidFill>
                    <a:schemeClr val="bg1"/>
                  </a:solidFill>
                  <a:latin typeface="Tw Cen MT" panose="020B0602020104020603" pitchFamily="34" charset="0"/>
                </a:rPr>
                <a:t> </a:t>
              </a:r>
              <a:r>
                <a:rPr lang="en-US" sz="1000" dirty="0" err="1">
                  <a:solidFill>
                    <a:schemeClr val="bg1"/>
                  </a:solidFill>
                  <a:latin typeface="Tw Cen MT" panose="020B0602020104020603" pitchFamily="34" charset="0"/>
                </a:rPr>
                <a:t>keperluan</a:t>
              </a:r>
              <a:r>
                <a:rPr lang="en-US" sz="1000" dirty="0">
                  <a:solidFill>
                    <a:schemeClr val="bg1"/>
                  </a:solidFill>
                  <a:latin typeface="Tw Cen MT" panose="020B0602020104020603" pitchFamily="34" charset="0"/>
                </a:rPr>
                <a:t> </a:t>
              </a:r>
              <a:r>
                <a:rPr lang="en-US" sz="1000" dirty="0" err="1">
                  <a:solidFill>
                    <a:schemeClr val="bg1"/>
                  </a:solidFill>
                  <a:latin typeface="Tw Cen MT" panose="020B0602020104020603" pitchFamily="34" charset="0"/>
                </a:rPr>
                <a:t>apapun</a:t>
              </a:r>
              <a:r>
                <a:rPr lang="en-US" sz="1000" dirty="0">
                  <a:solidFill>
                    <a:schemeClr val="bg1"/>
                  </a:solidFill>
                  <a:latin typeface="Tw Cen MT" panose="020B0602020104020603" pitchFamily="34" charset="0"/>
                </a:rPr>
                <a:t> </a:t>
              </a:r>
              <a:r>
                <a:rPr lang="en-US" sz="1000" dirty="0" err="1">
                  <a:solidFill>
                    <a:schemeClr val="bg1"/>
                  </a:solidFill>
                  <a:latin typeface="Tw Cen MT" panose="020B0602020104020603" pitchFamily="34" charset="0"/>
                </a:rPr>
                <a:t>tanpa</a:t>
              </a:r>
              <a:r>
                <a:rPr lang="en-US" sz="1000" dirty="0">
                  <a:solidFill>
                    <a:schemeClr val="bg1"/>
                  </a:solidFill>
                  <a:latin typeface="Tw Cen MT" panose="020B0602020104020603" pitchFamily="34" charset="0"/>
                </a:rPr>
                <a:t> </a:t>
              </a:r>
              <a:r>
                <a:rPr lang="en-US" sz="1000" dirty="0" err="1">
                  <a:solidFill>
                    <a:schemeClr val="bg1"/>
                  </a:solidFill>
                  <a:latin typeface="Tw Cen MT" panose="020B0602020104020603" pitchFamily="34" charset="0"/>
                </a:rPr>
                <a:t>ijin</a:t>
              </a:r>
              <a:r>
                <a:rPr lang="en-US" sz="1000" dirty="0">
                  <a:solidFill>
                    <a:schemeClr val="bg1"/>
                  </a:solidFill>
                  <a:latin typeface="Tw Cen MT" panose="020B0602020104020603" pitchFamily="34" charset="0"/>
                </a:rPr>
                <a:t> </a:t>
              </a:r>
              <a:r>
                <a:rPr lang="en-US" sz="1000" dirty="0" err="1">
                  <a:solidFill>
                    <a:schemeClr val="bg1"/>
                  </a:solidFill>
                  <a:latin typeface="Tw Cen MT" panose="020B0602020104020603" pitchFamily="34" charset="0"/>
                </a:rPr>
                <a:t>dari</a:t>
              </a:r>
              <a:r>
                <a:rPr lang="en-US" sz="1000" dirty="0">
                  <a:solidFill>
                    <a:schemeClr val="bg1"/>
                  </a:solidFill>
                  <a:latin typeface="Tw Cen MT" panose="020B0602020104020603" pitchFamily="34" charset="0"/>
                </a:rPr>
                <a:t> PT KPI</a:t>
              </a:r>
            </a:p>
            <a:p>
              <a:pPr algn="r"/>
              <a:r>
                <a:rPr lang="en-US" sz="1000" dirty="0">
                  <a:solidFill>
                    <a:schemeClr val="bg1"/>
                  </a:solidFill>
                  <a:latin typeface="Tw Cen MT" panose="020B0602020104020603" pitchFamily="34" charset="0"/>
                </a:rPr>
                <a:t>(Any use of this material without specific permission of PT KPI is strictly prohibited)</a:t>
              </a: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52E8F04-A3CC-4B72-960A-B90D56EB0C65}"/>
              </a:ext>
            </a:extLst>
          </p:cNvPr>
          <p:cNvGrpSpPr/>
          <p:nvPr userDrawn="1"/>
        </p:nvGrpSpPr>
        <p:grpSpPr>
          <a:xfrm>
            <a:off x="1" y="6150294"/>
            <a:ext cx="12191997" cy="828356"/>
            <a:chOff x="0" y="6024283"/>
            <a:chExt cx="11949113" cy="811854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C5E728B3-94C8-4D62-ADC4-FA7B3CD6DC04}"/>
                </a:ext>
              </a:extLst>
            </p:cNvPr>
            <p:cNvSpPr/>
            <p:nvPr userDrawn="1"/>
          </p:nvSpPr>
          <p:spPr>
            <a:xfrm>
              <a:off x="0" y="6137222"/>
              <a:ext cx="11949113" cy="58405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39943">
                <a:defRPr/>
              </a:pPr>
              <a:endParaRPr lang="en-US" sz="2048">
                <a:solidFill>
                  <a:prstClr val="white"/>
                </a:solidFill>
              </a:endParaRPr>
            </a:p>
          </p:txBody>
        </p:sp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D6AD7C27-666E-453E-B103-69255CB1E40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1227315" y="6232605"/>
              <a:ext cx="392282" cy="393288"/>
            </a:xfrm>
            <a:prstGeom prst="rect">
              <a:avLst/>
            </a:prstGeom>
          </p:spPr>
        </p:pic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C80668AE-3BED-4393-8966-33DCA930424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6024283"/>
              <a:ext cx="1541600" cy="697001"/>
            </a:xfrm>
            <a:prstGeom prst="rect">
              <a:avLst/>
            </a:prstGeom>
          </p:spPr>
        </p:pic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00525841-8449-44F2-B423-7A85CF58F39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4"/>
            <a:stretch>
              <a:fillRect/>
            </a:stretch>
          </p:blipFill>
          <p:spPr>
            <a:xfrm>
              <a:off x="4850606" y="6270628"/>
              <a:ext cx="2247900" cy="56550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7532690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490A61A-61D8-4B33-A31C-4AFF84D502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78122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23" imgH="423" progId="TCLayout.ActiveDocument.1">
                  <p:embed/>
                </p:oleObj>
              </mc:Choice>
              <mc:Fallback>
                <p:oleObj name="think-cell Slide" r:id="rId6" imgW="423" imgH="42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490A61A-61D8-4B33-A31C-4AFF84D502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Rectangle 30" hidden="1">
            <a:extLst>
              <a:ext uri="{FF2B5EF4-FFF2-40B4-BE49-F238E27FC236}">
                <a16:creationId xmlns:a16="http://schemas.microsoft.com/office/drawing/2014/main" id="{600BF320-C5AB-4CA8-AE0F-5E09602EA0C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 dirty="0">
              <a:latin typeface="Tw Cen MT" panose="020B0602020104020603" pitchFamily="34" charset="0"/>
              <a:ea typeface="Tahoma" panose="020B0604030504040204" pitchFamily="34" charset="0"/>
              <a:cs typeface="Tahoma" panose="020B0604030504040204" pitchFamily="34" charset="0"/>
              <a:sym typeface="Tw Cen MT" panose="020B0602020104020603" pitchFamily="34" charset="0"/>
            </a:endParaRPr>
          </a:p>
        </p:txBody>
      </p:sp>
      <p:pic>
        <p:nvPicPr>
          <p:cNvPr id="3" name="Picture 2" descr="A large ship in a body of water&#10;&#10;Description automatically generated">
            <a:extLst>
              <a:ext uri="{FF2B5EF4-FFF2-40B4-BE49-F238E27FC236}">
                <a16:creationId xmlns:a16="http://schemas.microsoft.com/office/drawing/2014/main" id="{2E671677-5E18-4722-98C2-300BA561BC2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/>
          <a:srcRect t="7318" b="2592"/>
          <a:stretch/>
        </p:blipFill>
        <p:spPr>
          <a:xfrm>
            <a:off x="-434" y="1"/>
            <a:ext cx="12204000" cy="6186229"/>
          </a:xfrm>
          <a:prstGeom prst="rect">
            <a:avLst/>
          </a:prstGeom>
        </p:spPr>
      </p:pic>
      <p:sp>
        <p:nvSpPr>
          <p:cNvPr id="9" name="Rectangle 1026">
            <a:extLst>
              <a:ext uri="{FF2B5EF4-FFF2-40B4-BE49-F238E27FC236}">
                <a16:creationId xmlns:a16="http://schemas.microsoft.com/office/drawing/2014/main" id="{59710BC1-9763-4C70-A07F-1BFB52A85158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 bwMode="gray">
          <a:xfrm>
            <a:off x="5968925" y="1518522"/>
            <a:ext cx="5938716" cy="584775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3200" b="1" baseline="0">
                <a:solidFill>
                  <a:schemeClr val="bg1"/>
                </a:solidFill>
                <a:latin typeface="Tw Cen MT" panose="020B0602020104020603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0" name="Rectangle 1027">
            <a:extLst>
              <a:ext uri="{FF2B5EF4-FFF2-40B4-BE49-F238E27FC236}">
                <a16:creationId xmlns:a16="http://schemas.microsoft.com/office/drawing/2014/main" id="{D32700B9-524F-47E0-BA8F-AD2B9A5308CD}"/>
              </a:ext>
            </a:extLst>
          </p:cNvPr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5968926" y="2362390"/>
            <a:ext cx="6269276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67" baseline="0">
                <a:solidFill>
                  <a:schemeClr val="bg1"/>
                </a:solidFill>
                <a:latin typeface="Tw Cen MT" panose="020B0602020104020603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8AAC588-214C-4600-9662-FFFDCB96499B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14545" y="2474"/>
            <a:ext cx="2077455" cy="606442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97790B37-77D4-4684-B789-4CE85039C9BA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80912" y="-121645"/>
            <a:ext cx="1631650" cy="917989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53A34E68-FCEB-4AA3-961F-CA54472D5182}"/>
              </a:ext>
            </a:extLst>
          </p:cNvPr>
          <p:cNvSpPr/>
          <p:nvPr userDrawn="1"/>
        </p:nvSpPr>
        <p:spPr>
          <a:xfrm>
            <a:off x="8294" y="5333156"/>
            <a:ext cx="6084843" cy="800725"/>
          </a:xfrm>
          <a:prstGeom prst="rect">
            <a:avLst/>
          </a:prstGeom>
          <a:solidFill>
            <a:srgbClr val="2F695C">
              <a:alpha val="83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lIns="117834" tIns="117834" rIns="117834" bIns="117834" rtlCol="0" anchor="ctr">
            <a:noAutofit/>
          </a:bodyPr>
          <a:lstStyle/>
          <a:p>
            <a:pPr defTabSz="1080873">
              <a:defRPr/>
            </a:pPr>
            <a:endParaRPr lang="en-US" sz="1300">
              <a:solidFill>
                <a:srgbClr val="C00000"/>
              </a:solidFill>
              <a:ea typeface="ＭＳ Ｐゴシック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9C6D9942-904B-47D8-B601-0A4D99280EE7}"/>
              </a:ext>
            </a:extLst>
          </p:cNvPr>
          <p:cNvSpPr/>
          <p:nvPr userDrawn="1"/>
        </p:nvSpPr>
        <p:spPr>
          <a:xfrm>
            <a:off x="6093137" y="5333156"/>
            <a:ext cx="6110429" cy="800725"/>
          </a:xfrm>
          <a:prstGeom prst="rect">
            <a:avLst/>
          </a:prstGeom>
          <a:solidFill>
            <a:srgbClr val="0E201C"/>
          </a:solidFill>
          <a:ln w="9525">
            <a:noFill/>
            <a:miter lim="800000"/>
            <a:headEnd/>
            <a:tailEnd/>
          </a:ln>
          <a:effectLst/>
        </p:spPr>
        <p:txBody>
          <a:bodyPr lIns="117834" tIns="117834" rIns="117834" bIns="117834" rtlCol="0" anchor="ctr">
            <a:noAutofit/>
          </a:bodyPr>
          <a:lstStyle/>
          <a:p>
            <a:pPr defTabSz="1080873">
              <a:defRPr/>
            </a:pPr>
            <a:endParaRPr lang="en-US" sz="1100">
              <a:solidFill>
                <a:srgbClr val="C00000"/>
              </a:solidFill>
              <a:ea typeface="ＭＳ Ｐゴシック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4425FC9-0CC8-4686-97C7-81175B8077D3}"/>
              </a:ext>
            </a:extLst>
          </p:cNvPr>
          <p:cNvSpPr txBox="1"/>
          <p:nvPr userDrawn="1"/>
        </p:nvSpPr>
        <p:spPr>
          <a:xfrm>
            <a:off x="6221928" y="5451173"/>
            <a:ext cx="3646413" cy="5646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8087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1" dirty="0">
                <a:solidFill>
                  <a:schemeClr val="bg1"/>
                </a:solidFill>
                <a:latin typeface="Tw Cen MT" panose="020B0602020104020603" pitchFamily="34" charset="0"/>
                <a:ea typeface="ＭＳ Ｐゴシック"/>
              </a:rPr>
              <a:t>PT </a:t>
            </a:r>
            <a:r>
              <a:rPr lang="en-US" sz="1000" b="1" dirty="0" err="1">
                <a:solidFill>
                  <a:schemeClr val="bg1"/>
                </a:solidFill>
                <a:latin typeface="Tw Cen MT" panose="020B0602020104020603" pitchFamily="34" charset="0"/>
                <a:ea typeface="ＭＳ Ｐゴシック"/>
              </a:rPr>
              <a:t>Kilang</a:t>
            </a:r>
            <a:r>
              <a:rPr lang="en-US" sz="1000" b="1" dirty="0">
                <a:solidFill>
                  <a:schemeClr val="bg1"/>
                </a:solidFill>
                <a:latin typeface="Tw Cen MT" panose="020B0602020104020603" pitchFamily="34" charset="0"/>
                <a:ea typeface="ＭＳ Ｐゴシック"/>
              </a:rPr>
              <a:t> </a:t>
            </a:r>
            <a:r>
              <a:rPr lang="en-US" sz="1000" b="1" dirty="0" err="1">
                <a:solidFill>
                  <a:schemeClr val="bg1"/>
                </a:solidFill>
                <a:latin typeface="Tw Cen MT" panose="020B0602020104020603" pitchFamily="34" charset="0"/>
                <a:ea typeface="ＭＳ Ｐゴシック"/>
              </a:rPr>
              <a:t>Pertamina</a:t>
            </a:r>
            <a:r>
              <a:rPr lang="en-US" sz="1000" b="1" dirty="0">
                <a:solidFill>
                  <a:schemeClr val="bg1"/>
                </a:solidFill>
                <a:latin typeface="Tw Cen MT" panose="020B0602020104020603" pitchFamily="34" charset="0"/>
                <a:ea typeface="ＭＳ Ｐゴシック"/>
              </a:rPr>
              <a:t> </a:t>
            </a:r>
            <a:r>
              <a:rPr lang="en-US" sz="1000" b="1" dirty="0" err="1">
                <a:solidFill>
                  <a:schemeClr val="bg1"/>
                </a:solidFill>
                <a:latin typeface="Tw Cen MT" panose="020B0602020104020603" pitchFamily="34" charset="0"/>
                <a:ea typeface="ＭＳ Ｐゴシック"/>
              </a:rPr>
              <a:t>Internasional</a:t>
            </a:r>
            <a:endParaRPr lang="en-US" sz="1000" b="1" dirty="0">
              <a:solidFill>
                <a:schemeClr val="bg1"/>
              </a:solidFill>
              <a:latin typeface="Tw Cen MT" panose="020B0602020104020603" pitchFamily="34" charset="0"/>
              <a:ea typeface="ＭＳ Ｐゴシック"/>
            </a:endParaRPr>
          </a:p>
          <a:p>
            <a:pPr defTabSz="108087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1" dirty="0">
                <a:solidFill>
                  <a:schemeClr val="bg1"/>
                </a:solidFill>
                <a:latin typeface="Tw Cen MT" panose="020B0602020104020603" pitchFamily="34" charset="0"/>
                <a:ea typeface="ＭＳ Ｐゴシック"/>
              </a:rPr>
              <a:t>(Refining and Petrochemical Business Group of </a:t>
            </a:r>
            <a:r>
              <a:rPr lang="en-US" sz="1000" b="1" dirty="0" err="1">
                <a:solidFill>
                  <a:schemeClr val="bg1"/>
                </a:solidFill>
                <a:latin typeface="Tw Cen MT" panose="020B0602020104020603" pitchFamily="34" charset="0"/>
                <a:ea typeface="ＭＳ Ｐゴシック"/>
              </a:rPr>
              <a:t>Pertamina</a:t>
            </a:r>
            <a:r>
              <a:rPr lang="en-US" sz="1000" b="1" dirty="0">
                <a:solidFill>
                  <a:schemeClr val="bg1"/>
                </a:solidFill>
                <a:latin typeface="Tw Cen MT" panose="020B0602020104020603" pitchFamily="34" charset="0"/>
                <a:ea typeface="ＭＳ Ｐゴシック"/>
              </a:rPr>
              <a:t>) </a:t>
            </a:r>
          </a:p>
          <a:p>
            <a:pPr defTabSz="108087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0" dirty="0" err="1">
                <a:solidFill>
                  <a:schemeClr val="bg1"/>
                </a:solidFill>
                <a:latin typeface="Tw Cen MT" panose="020B0602020104020603" pitchFamily="34" charset="0"/>
                <a:ea typeface="ＭＳ Ｐゴシック"/>
              </a:rPr>
              <a:t>Tahun</a:t>
            </a:r>
            <a:r>
              <a:rPr lang="en-US" sz="1000" b="0" dirty="0">
                <a:solidFill>
                  <a:schemeClr val="bg1"/>
                </a:solidFill>
                <a:latin typeface="Tw Cen MT" panose="020B0602020104020603" pitchFamily="34" charset="0"/>
                <a:ea typeface="ＭＳ Ｐゴシック"/>
              </a:rPr>
              <a:t> 2021</a:t>
            </a:r>
          </a:p>
        </p:txBody>
      </p:sp>
      <p:sp>
        <p:nvSpPr>
          <p:cNvPr id="21" name="McK Disclaimer">
            <a:extLst>
              <a:ext uri="{FF2B5EF4-FFF2-40B4-BE49-F238E27FC236}">
                <a16:creationId xmlns:a16="http://schemas.microsoft.com/office/drawing/2014/main" id="{2757C094-F5FE-4977-A764-8D5EF714620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9763985" y="5576506"/>
            <a:ext cx="2205765" cy="3140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/>
          <a:p>
            <a:pPr defTabSz="960055" eaLnBrk="0" hangingPunct="0">
              <a:defRPr/>
            </a:pPr>
            <a:r>
              <a:rPr lang="en-US" altLang="ko-KR" sz="1000" b="1" dirty="0">
                <a:solidFill>
                  <a:schemeClr val="bg1"/>
                </a:solidFill>
                <a:latin typeface="Tw Cen MT" panose="020B0602020104020603" pitchFamily="34" charset="0"/>
                <a:ea typeface="Gulim" pitchFamily="34" charset="-127"/>
              </a:rPr>
              <a:t>Jl. Medan Merdeka Timur 1A</a:t>
            </a:r>
          </a:p>
          <a:p>
            <a:pPr defTabSz="960055" eaLnBrk="0" hangingPunct="0">
              <a:defRPr/>
            </a:pPr>
            <a:r>
              <a:rPr lang="en-US" altLang="ko-KR" sz="1000" b="1" dirty="0">
                <a:solidFill>
                  <a:schemeClr val="bg1"/>
                </a:solidFill>
                <a:latin typeface="Tw Cen MT" panose="020B0602020104020603" pitchFamily="34" charset="0"/>
                <a:ea typeface="Gulim" pitchFamily="34" charset="-127"/>
              </a:rPr>
              <a:t>Jakarta, Indonesia 10110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0EB25226-FC47-4CDB-94CA-86CDCC344FAF}"/>
              </a:ext>
            </a:extLst>
          </p:cNvPr>
          <p:cNvCxnSpPr/>
          <p:nvPr userDrawn="1"/>
        </p:nvCxnSpPr>
        <p:spPr>
          <a:xfrm flipV="1">
            <a:off x="9548432" y="5545226"/>
            <a:ext cx="0" cy="376584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tangle 25">
            <a:extLst>
              <a:ext uri="{FF2B5EF4-FFF2-40B4-BE49-F238E27FC236}">
                <a16:creationId xmlns:a16="http://schemas.microsoft.com/office/drawing/2014/main" id="{4A44E648-99FD-4DC4-A674-DA194B13C505}"/>
              </a:ext>
            </a:extLst>
          </p:cNvPr>
          <p:cNvSpPr/>
          <p:nvPr userDrawn="1"/>
        </p:nvSpPr>
        <p:spPr>
          <a:xfrm>
            <a:off x="222251" y="5434365"/>
            <a:ext cx="5780328" cy="5652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000" dirty="0">
                <a:solidFill>
                  <a:schemeClr val="bg1"/>
                </a:solidFill>
                <a:latin typeface="Tw Cen MT" panose="020B0602020104020603" pitchFamily="34" charset="0"/>
              </a:rPr>
              <a:t>RAHASIA DAN HAK MILIK (CONFIDENTIAL AND PROPRIETARY)</a:t>
            </a:r>
          </a:p>
          <a:p>
            <a:pPr algn="r"/>
            <a:r>
              <a:rPr lang="en-US" sz="1000" dirty="0" err="1">
                <a:solidFill>
                  <a:schemeClr val="bg1"/>
                </a:solidFill>
                <a:latin typeface="Tw Cen MT" panose="020B0602020104020603" pitchFamily="34" charset="0"/>
              </a:rPr>
              <a:t>Dilarang</a:t>
            </a:r>
            <a:r>
              <a:rPr lang="en-US" sz="1000" dirty="0">
                <a:solidFill>
                  <a:schemeClr val="bg1"/>
                </a:solidFill>
                <a:latin typeface="Tw Cen MT" panose="020B0602020104020603" pitchFamily="34" charset="0"/>
              </a:rPr>
              <a:t> </a:t>
            </a:r>
            <a:r>
              <a:rPr lang="en-US" sz="1000" dirty="0" err="1">
                <a:solidFill>
                  <a:schemeClr val="bg1"/>
                </a:solidFill>
                <a:latin typeface="Tw Cen MT" panose="020B0602020104020603" pitchFamily="34" charset="0"/>
              </a:rPr>
              <a:t>menggunakan</a:t>
            </a:r>
            <a:r>
              <a:rPr lang="en-US" sz="1000" dirty="0">
                <a:solidFill>
                  <a:schemeClr val="bg1"/>
                </a:solidFill>
                <a:latin typeface="Tw Cen MT" panose="020B0602020104020603" pitchFamily="34" charset="0"/>
              </a:rPr>
              <a:t> material </a:t>
            </a:r>
            <a:r>
              <a:rPr lang="en-US" sz="1000" dirty="0" err="1">
                <a:solidFill>
                  <a:schemeClr val="bg1"/>
                </a:solidFill>
                <a:latin typeface="Tw Cen MT" panose="020B0602020104020603" pitchFamily="34" charset="0"/>
              </a:rPr>
              <a:t>ini</a:t>
            </a:r>
            <a:r>
              <a:rPr lang="en-US" sz="1000" dirty="0">
                <a:solidFill>
                  <a:schemeClr val="bg1"/>
                </a:solidFill>
                <a:latin typeface="Tw Cen MT" panose="020B0602020104020603" pitchFamily="34" charset="0"/>
              </a:rPr>
              <a:t> </a:t>
            </a:r>
            <a:r>
              <a:rPr lang="en-US" sz="1000" dirty="0" err="1">
                <a:solidFill>
                  <a:schemeClr val="bg1"/>
                </a:solidFill>
                <a:latin typeface="Tw Cen MT" panose="020B0602020104020603" pitchFamily="34" charset="0"/>
              </a:rPr>
              <a:t>untuk</a:t>
            </a:r>
            <a:r>
              <a:rPr lang="en-US" sz="1000" dirty="0">
                <a:solidFill>
                  <a:schemeClr val="bg1"/>
                </a:solidFill>
                <a:latin typeface="Tw Cen MT" panose="020B0602020104020603" pitchFamily="34" charset="0"/>
              </a:rPr>
              <a:t> </a:t>
            </a:r>
            <a:r>
              <a:rPr lang="en-US" sz="1000" dirty="0" err="1">
                <a:solidFill>
                  <a:schemeClr val="bg1"/>
                </a:solidFill>
                <a:latin typeface="Tw Cen MT" panose="020B0602020104020603" pitchFamily="34" charset="0"/>
              </a:rPr>
              <a:t>keperluan</a:t>
            </a:r>
            <a:r>
              <a:rPr lang="en-US" sz="1000" dirty="0">
                <a:solidFill>
                  <a:schemeClr val="bg1"/>
                </a:solidFill>
                <a:latin typeface="Tw Cen MT" panose="020B0602020104020603" pitchFamily="34" charset="0"/>
              </a:rPr>
              <a:t> </a:t>
            </a:r>
            <a:r>
              <a:rPr lang="en-US" sz="1000" dirty="0" err="1">
                <a:solidFill>
                  <a:schemeClr val="bg1"/>
                </a:solidFill>
                <a:latin typeface="Tw Cen MT" panose="020B0602020104020603" pitchFamily="34" charset="0"/>
              </a:rPr>
              <a:t>apapun</a:t>
            </a:r>
            <a:r>
              <a:rPr lang="en-US" sz="1000" dirty="0">
                <a:solidFill>
                  <a:schemeClr val="bg1"/>
                </a:solidFill>
                <a:latin typeface="Tw Cen MT" panose="020B0602020104020603" pitchFamily="34" charset="0"/>
              </a:rPr>
              <a:t> </a:t>
            </a:r>
            <a:r>
              <a:rPr lang="en-US" sz="1000" dirty="0" err="1">
                <a:solidFill>
                  <a:schemeClr val="bg1"/>
                </a:solidFill>
                <a:latin typeface="Tw Cen MT" panose="020B0602020104020603" pitchFamily="34" charset="0"/>
              </a:rPr>
              <a:t>tanpa</a:t>
            </a:r>
            <a:r>
              <a:rPr lang="en-US" sz="1000" dirty="0">
                <a:solidFill>
                  <a:schemeClr val="bg1"/>
                </a:solidFill>
                <a:latin typeface="Tw Cen MT" panose="020B0602020104020603" pitchFamily="34" charset="0"/>
              </a:rPr>
              <a:t> </a:t>
            </a:r>
            <a:r>
              <a:rPr lang="en-US" sz="1000" dirty="0" err="1">
                <a:solidFill>
                  <a:schemeClr val="bg1"/>
                </a:solidFill>
                <a:latin typeface="Tw Cen MT" panose="020B0602020104020603" pitchFamily="34" charset="0"/>
              </a:rPr>
              <a:t>ijin</a:t>
            </a:r>
            <a:r>
              <a:rPr lang="en-US" sz="1000" dirty="0">
                <a:solidFill>
                  <a:schemeClr val="bg1"/>
                </a:solidFill>
                <a:latin typeface="Tw Cen MT" panose="020B0602020104020603" pitchFamily="34" charset="0"/>
              </a:rPr>
              <a:t> </a:t>
            </a:r>
            <a:r>
              <a:rPr lang="en-US" sz="1000" dirty="0" err="1">
                <a:solidFill>
                  <a:schemeClr val="bg1"/>
                </a:solidFill>
                <a:latin typeface="Tw Cen MT" panose="020B0602020104020603" pitchFamily="34" charset="0"/>
              </a:rPr>
              <a:t>dari</a:t>
            </a:r>
            <a:r>
              <a:rPr lang="en-US" sz="1000" dirty="0">
                <a:solidFill>
                  <a:schemeClr val="bg1"/>
                </a:solidFill>
                <a:latin typeface="Tw Cen MT" panose="020B0602020104020603" pitchFamily="34" charset="0"/>
              </a:rPr>
              <a:t> PT KPI</a:t>
            </a:r>
          </a:p>
          <a:p>
            <a:pPr algn="r"/>
            <a:r>
              <a:rPr lang="en-US" sz="1000" dirty="0">
                <a:solidFill>
                  <a:schemeClr val="bg1"/>
                </a:solidFill>
                <a:latin typeface="Tw Cen MT" panose="020B0602020104020603" pitchFamily="34" charset="0"/>
              </a:rPr>
              <a:t>(Any use of this material without specific permission of PT KPI is strictly prohibited)</a:t>
            </a: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FB6E4817-F2AC-43BA-8563-8D4103B074A5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6135546"/>
            <a:ext cx="12192000" cy="722454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BB73B228-EB45-4758-B690-4CEDFABAA90E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6001140"/>
            <a:ext cx="1869141" cy="856861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71A0BBBC-0EB6-4689-A41A-6846C4A19224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11477768" y="6328684"/>
            <a:ext cx="400274" cy="401300"/>
          </a:xfrm>
          <a:prstGeom prst="rect">
            <a:avLst/>
          </a:prstGeom>
        </p:spPr>
      </p:pic>
      <p:sp>
        <p:nvSpPr>
          <p:cNvPr id="40" name="McK Disclaimer">
            <a:extLst>
              <a:ext uri="{FF2B5EF4-FFF2-40B4-BE49-F238E27FC236}">
                <a16:creationId xmlns:a16="http://schemas.microsoft.com/office/drawing/2014/main" id="{30D2003E-B3F4-4110-8FE5-229904B6063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6152191" y="6405180"/>
            <a:ext cx="2844665" cy="1727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/>
          <a:p>
            <a:pPr defTabSz="960055" eaLnBrk="0" hangingPunct="0">
              <a:defRPr/>
            </a:pPr>
            <a:r>
              <a:rPr lang="en-US" altLang="ko-KR" sz="11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Tw Cen MT" panose="020B0602020104020603" pitchFamily="34" charset="0"/>
                <a:ea typeface="Gulim" pitchFamily="34" charset="-127"/>
              </a:rPr>
              <a:t>@</a:t>
            </a:r>
            <a:r>
              <a:rPr lang="en-US" altLang="ko-KR" sz="11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Tw Cen MT" panose="020B0602020104020603" pitchFamily="34" charset="0"/>
                <a:ea typeface="Gulim" pitchFamily="34" charset="-127"/>
              </a:rPr>
              <a:t>kilangpertaminainternasional</a:t>
            </a:r>
            <a:endParaRPr lang="en-US" altLang="ko-KR" sz="1100" b="1" dirty="0">
              <a:solidFill>
                <a:schemeClr val="tx1">
                  <a:lumMod val="75000"/>
                  <a:lumOff val="25000"/>
                </a:schemeClr>
              </a:solidFill>
              <a:latin typeface="Tw Cen MT" panose="020B0602020104020603" pitchFamily="34" charset="0"/>
              <a:ea typeface="Gulim" pitchFamily="34" charset="-127"/>
            </a:endParaRPr>
          </a:p>
        </p:txBody>
      </p:sp>
      <p:pic>
        <p:nvPicPr>
          <p:cNvPr id="41" name="Picture 40">
            <a:extLst>
              <a:ext uri="{FF2B5EF4-FFF2-40B4-BE49-F238E27FC236}">
                <a16:creationId xmlns:a16="http://schemas.microsoft.com/office/drawing/2014/main" id="{0F13B110-0F97-4C3C-B787-3B376B375B3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saturation sat="0"/>
                    </a14:imgEffect>
                  </a14:imgLayer>
                </a14:imgProps>
              </a:ext>
            </a:extLst>
          </a:blip>
          <a:srcRect r="81014"/>
          <a:stretch/>
        </p:blipFill>
        <p:spPr>
          <a:xfrm>
            <a:off x="5017063" y="6372721"/>
            <a:ext cx="549109" cy="237630"/>
          </a:xfrm>
          <a:prstGeom prst="rect">
            <a:avLst/>
          </a:prstGeom>
        </p:spPr>
      </p:pic>
      <p:pic>
        <p:nvPicPr>
          <p:cNvPr id="33" name="Graphic 32">
            <a:extLst>
              <a:ext uri="{FF2B5EF4-FFF2-40B4-BE49-F238E27FC236}">
                <a16:creationId xmlns:a16="http://schemas.microsoft.com/office/drawing/2014/main" id="{8DA86117-AE3D-4A52-9832-4FA00864EDD7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303031" y="256131"/>
            <a:ext cx="1421855" cy="276737"/>
          </a:xfrm>
          <a:prstGeom prst="rect">
            <a:avLst/>
          </a:prstGeom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id="{B38951B0-F424-4A03-8457-90BAC1714CC1}"/>
              </a:ext>
            </a:extLst>
          </p:cNvPr>
          <p:cNvPicPr>
            <a:picLocks noChangeAspect="1"/>
          </p:cNvPicPr>
          <p:nvPr userDrawn="1"/>
        </p:nvPicPr>
        <p:blipFill>
          <a:blip r:embed="rId18">
            <a:grayscl/>
          </a:blip>
          <a:stretch>
            <a:fillRect/>
          </a:stretch>
        </p:blipFill>
        <p:spPr>
          <a:xfrm>
            <a:off x="5816932" y="6372720"/>
            <a:ext cx="237600" cy="237600"/>
          </a:xfrm>
          <a:prstGeom prst="rect">
            <a:avLst/>
          </a:prstGeom>
        </p:spPr>
      </p:pic>
      <p:grpSp>
        <p:nvGrpSpPr>
          <p:cNvPr id="47" name="Graphic 45">
            <a:extLst>
              <a:ext uri="{FF2B5EF4-FFF2-40B4-BE49-F238E27FC236}">
                <a16:creationId xmlns:a16="http://schemas.microsoft.com/office/drawing/2014/main" id="{0AE4EC0C-B6E6-4B56-94FF-87915A3131CF}"/>
              </a:ext>
            </a:extLst>
          </p:cNvPr>
          <p:cNvGrpSpPr/>
          <p:nvPr/>
        </p:nvGrpSpPr>
        <p:grpSpPr>
          <a:xfrm>
            <a:off x="5551734" y="6372720"/>
            <a:ext cx="237600" cy="237600"/>
            <a:chOff x="3657600" y="990600"/>
            <a:chExt cx="4876800" cy="4876800"/>
          </a:xfrm>
        </p:grpSpPr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F9AD5CE5-468B-425F-B43E-6E6C55992A93}"/>
                </a:ext>
              </a:extLst>
            </p:cNvPr>
            <p:cNvSpPr/>
            <p:nvPr/>
          </p:nvSpPr>
          <p:spPr>
            <a:xfrm>
              <a:off x="3657600" y="990600"/>
              <a:ext cx="4876800" cy="4876800"/>
            </a:xfrm>
            <a:custGeom>
              <a:avLst/>
              <a:gdLst>
                <a:gd name="connsiteX0" fmla="*/ 4876800 w 4876800"/>
                <a:gd name="connsiteY0" fmla="*/ 2438400 h 4876800"/>
                <a:gd name="connsiteX1" fmla="*/ 2438400 w 4876800"/>
                <a:gd name="connsiteY1" fmla="*/ 4876800 h 4876800"/>
                <a:gd name="connsiteX2" fmla="*/ 0 w 4876800"/>
                <a:gd name="connsiteY2" fmla="*/ 2438400 h 4876800"/>
                <a:gd name="connsiteX3" fmla="*/ 2438400 w 4876800"/>
                <a:gd name="connsiteY3" fmla="*/ 0 h 4876800"/>
                <a:gd name="connsiteX4" fmla="*/ 4876800 w 4876800"/>
                <a:gd name="connsiteY4" fmla="*/ 2438400 h 4876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76800" h="4876800">
                  <a:moveTo>
                    <a:pt x="4876800" y="2438400"/>
                  </a:moveTo>
                  <a:cubicBezTo>
                    <a:pt x="4876800" y="3785091"/>
                    <a:pt x="3785091" y="4876800"/>
                    <a:pt x="2438400" y="4876800"/>
                  </a:cubicBezTo>
                  <a:cubicBezTo>
                    <a:pt x="1091709" y="4876800"/>
                    <a:pt x="0" y="3785091"/>
                    <a:pt x="0" y="2438400"/>
                  </a:cubicBezTo>
                  <a:cubicBezTo>
                    <a:pt x="0" y="1091709"/>
                    <a:pt x="1091709" y="0"/>
                    <a:pt x="2438400" y="0"/>
                  </a:cubicBezTo>
                  <a:cubicBezTo>
                    <a:pt x="3785091" y="0"/>
                    <a:pt x="4876800" y="1091709"/>
                    <a:pt x="4876800" y="2438400"/>
                  </a:cubicBezTo>
                  <a:close/>
                </a:path>
              </a:pathLst>
            </a:custGeom>
            <a:solidFill>
              <a:srgbClr val="6A6A6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D" sz="1600"/>
            </a:p>
          </p:txBody>
        </p:sp>
        <p:grpSp>
          <p:nvGrpSpPr>
            <p:cNvPr id="50" name="Graphic 45">
              <a:extLst>
                <a:ext uri="{FF2B5EF4-FFF2-40B4-BE49-F238E27FC236}">
                  <a16:creationId xmlns:a16="http://schemas.microsoft.com/office/drawing/2014/main" id="{0AE4EC0C-B6E6-4B56-94FF-87915A3131CF}"/>
                </a:ext>
              </a:extLst>
            </p:cNvPr>
            <p:cNvGrpSpPr/>
            <p:nvPr/>
          </p:nvGrpSpPr>
          <p:grpSpPr>
            <a:xfrm>
              <a:off x="4532242" y="1865242"/>
              <a:ext cx="3127533" cy="3127533"/>
              <a:chOff x="4532242" y="1865242"/>
              <a:chExt cx="3127533" cy="3127533"/>
            </a:xfrm>
            <a:solidFill>
              <a:srgbClr val="FFFFFF"/>
            </a:solidFill>
          </p:grpSpPr>
          <p:sp>
            <p:nvSpPr>
              <p:cNvPr id="51" name="Freeform: Shape 50">
                <a:extLst>
                  <a:ext uri="{FF2B5EF4-FFF2-40B4-BE49-F238E27FC236}">
                    <a16:creationId xmlns:a16="http://schemas.microsoft.com/office/drawing/2014/main" id="{85A99EC9-4FD0-4B50-B0D4-84FE7ED278F7}"/>
                  </a:ext>
                </a:extLst>
              </p:cNvPr>
              <p:cNvSpPr/>
              <p:nvPr/>
            </p:nvSpPr>
            <p:spPr>
              <a:xfrm>
                <a:off x="4532242" y="1865242"/>
                <a:ext cx="3127533" cy="3127533"/>
              </a:xfrm>
              <a:custGeom>
                <a:avLst/>
                <a:gdLst>
                  <a:gd name="connsiteX0" fmla="*/ 2467108 w 3127533"/>
                  <a:gd name="connsiteY0" fmla="*/ 0 h 3127533"/>
                  <a:gd name="connsiteX1" fmla="*/ 660406 w 3127533"/>
                  <a:gd name="connsiteY1" fmla="*/ 0 h 3127533"/>
                  <a:gd name="connsiteX2" fmla="*/ 0 w 3127533"/>
                  <a:gd name="connsiteY2" fmla="*/ 660406 h 3127533"/>
                  <a:gd name="connsiteX3" fmla="*/ 0 w 3127533"/>
                  <a:gd name="connsiteY3" fmla="*/ 2467128 h 3127533"/>
                  <a:gd name="connsiteX4" fmla="*/ 660406 w 3127533"/>
                  <a:gd name="connsiteY4" fmla="*/ 3127534 h 3127533"/>
                  <a:gd name="connsiteX5" fmla="*/ 2467128 w 3127533"/>
                  <a:gd name="connsiteY5" fmla="*/ 3127534 h 3127533"/>
                  <a:gd name="connsiteX6" fmla="*/ 3127534 w 3127533"/>
                  <a:gd name="connsiteY6" fmla="*/ 2467128 h 3127533"/>
                  <a:gd name="connsiteX7" fmla="*/ 3127534 w 3127533"/>
                  <a:gd name="connsiteY7" fmla="*/ 660406 h 3127533"/>
                  <a:gd name="connsiteX8" fmla="*/ 2467108 w 3127533"/>
                  <a:gd name="connsiteY8" fmla="*/ 0 h 3127533"/>
                  <a:gd name="connsiteX9" fmla="*/ 2968485 w 3127533"/>
                  <a:gd name="connsiteY9" fmla="*/ 2467108 h 3127533"/>
                  <a:gd name="connsiteX10" fmla="*/ 2467108 w 3127533"/>
                  <a:gd name="connsiteY10" fmla="*/ 2968485 h 3127533"/>
                  <a:gd name="connsiteX11" fmla="*/ 660406 w 3127533"/>
                  <a:gd name="connsiteY11" fmla="*/ 2968485 h 3127533"/>
                  <a:gd name="connsiteX12" fmla="*/ 159029 w 3127533"/>
                  <a:gd name="connsiteY12" fmla="*/ 2467108 h 3127533"/>
                  <a:gd name="connsiteX13" fmla="*/ 159029 w 3127533"/>
                  <a:gd name="connsiteY13" fmla="*/ 660406 h 3127533"/>
                  <a:gd name="connsiteX14" fmla="*/ 660406 w 3127533"/>
                  <a:gd name="connsiteY14" fmla="*/ 159029 h 3127533"/>
                  <a:gd name="connsiteX15" fmla="*/ 2467128 w 3127533"/>
                  <a:gd name="connsiteY15" fmla="*/ 159029 h 3127533"/>
                  <a:gd name="connsiteX16" fmla="*/ 2968505 w 3127533"/>
                  <a:gd name="connsiteY16" fmla="*/ 660406 h 3127533"/>
                  <a:gd name="connsiteX17" fmla="*/ 2968505 w 3127533"/>
                  <a:gd name="connsiteY17" fmla="*/ 2467108 h 3127533"/>
                  <a:gd name="connsiteX18" fmla="*/ 2968485 w 3127533"/>
                  <a:gd name="connsiteY18" fmla="*/ 2467108 h 31275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127533" h="3127533">
                    <a:moveTo>
                      <a:pt x="2467108" y="0"/>
                    </a:moveTo>
                    <a:lnTo>
                      <a:pt x="660406" y="0"/>
                    </a:lnTo>
                    <a:cubicBezTo>
                      <a:pt x="296256" y="0"/>
                      <a:pt x="0" y="296256"/>
                      <a:pt x="0" y="660406"/>
                    </a:cubicBezTo>
                    <a:lnTo>
                      <a:pt x="0" y="2467128"/>
                    </a:lnTo>
                    <a:cubicBezTo>
                      <a:pt x="0" y="2831278"/>
                      <a:pt x="296256" y="3127534"/>
                      <a:pt x="660406" y="3127534"/>
                    </a:cubicBezTo>
                    <a:lnTo>
                      <a:pt x="2467128" y="3127534"/>
                    </a:lnTo>
                    <a:cubicBezTo>
                      <a:pt x="2831278" y="3127534"/>
                      <a:pt x="3127534" y="2831278"/>
                      <a:pt x="3127534" y="2467128"/>
                    </a:cubicBezTo>
                    <a:lnTo>
                      <a:pt x="3127534" y="660406"/>
                    </a:lnTo>
                    <a:cubicBezTo>
                      <a:pt x="3127515" y="296256"/>
                      <a:pt x="2831259" y="0"/>
                      <a:pt x="2467108" y="0"/>
                    </a:cubicBezTo>
                    <a:close/>
                    <a:moveTo>
                      <a:pt x="2968485" y="2467108"/>
                    </a:moveTo>
                    <a:cubicBezTo>
                      <a:pt x="2968485" y="2743572"/>
                      <a:pt x="2743572" y="2968485"/>
                      <a:pt x="2467108" y="2968485"/>
                    </a:cubicBezTo>
                    <a:lnTo>
                      <a:pt x="660406" y="2968485"/>
                    </a:lnTo>
                    <a:cubicBezTo>
                      <a:pt x="383943" y="2968485"/>
                      <a:pt x="159029" y="2743572"/>
                      <a:pt x="159029" y="2467108"/>
                    </a:cubicBezTo>
                    <a:lnTo>
                      <a:pt x="159029" y="660406"/>
                    </a:lnTo>
                    <a:cubicBezTo>
                      <a:pt x="159029" y="383943"/>
                      <a:pt x="383943" y="159029"/>
                      <a:pt x="660406" y="159029"/>
                    </a:cubicBezTo>
                    <a:lnTo>
                      <a:pt x="2467128" y="159029"/>
                    </a:lnTo>
                    <a:cubicBezTo>
                      <a:pt x="2743591" y="159029"/>
                      <a:pt x="2968505" y="383943"/>
                      <a:pt x="2968505" y="660406"/>
                    </a:cubicBezTo>
                    <a:lnTo>
                      <a:pt x="2968505" y="2467108"/>
                    </a:lnTo>
                    <a:lnTo>
                      <a:pt x="2968485" y="2467108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D" sz="1600"/>
              </a:p>
            </p:txBody>
          </p:sp>
          <p:sp>
            <p:nvSpPr>
              <p:cNvPr id="52" name="Freeform: Shape 51">
                <a:extLst>
                  <a:ext uri="{FF2B5EF4-FFF2-40B4-BE49-F238E27FC236}">
                    <a16:creationId xmlns:a16="http://schemas.microsoft.com/office/drawing/2014/main" id="{C1525641-1BD1-4E66-BB71-97AF263AE760}"/>
                  </a:ext>
                </a:extLst>
              </p:cNvPr>
              <p:cNvSpPr/>
              <p:nvPr/>
            </p:nvSpPr>
            <p:spPr>
              <a:xfrm>
                <a:off x="5274363" y="2607363"/>
                <a:ext cx="1643271" cy="1643271"/>
              </a:xfrm>
              <a:custGeom>
                <a:avLst/>
                <a:gdLst>
                  <a:gd name="connsiteX0" fmla="*/ 821636 w 1643271"/>
                  <a:gd name="connsiteY0" fmla="*/ 0 h 1643271"/>
                  <a:gd name="connsiteX1" fmla="*/ 0 w 1643271"/>
                  <a:gd name="connsiteY1" fmla="*/ 821636 h 1643271"/>
                  <a:gd name="connsiteX2" fmla="*/ 821636 w 1643271"/>
                  <a:gd name="connsiteY2" fmla="*/ 1643272 h 1643271"/>
                  <a:gd name="connsiteX3" fmla="*/ 1643272 w 1643271"/>
                  <a:gd name="connsiteY3" fmla="*/ 821636 h 1643271"/>
                  <a:gd name="connsiteX4" fmla="*/ 821636 w 1643271"/>
                  <a:gd name="connsiteY4" fmla="*/ 0 h 1643271"/>
                  <a:gd name="connsiteX5" fmla="*/ 821636 w 1643271"/>
                  <a:gd name="connsiteY5" fmla="*/ 1484243 h 1643271"/>
                  <a:gd name="connsiteX6" fmla="*/ 159029 w 1643271"/>
                  <a:gd name="connsiteY6" fmla="*/ 821636 h 1643271"/>
                  <a:gd name="connsiteX7" fmla="*/ 821636 w 1643271"/>
                  <a:gd name="connsiteY7" fmla="*/ 159029 h 1643271"/>
                  <a:gd name="connsiteX8" fmla="*/ 1484243 w 1643271"/>
                  <a:gd name="connsiteY8" fmla="*/ 821636 h 1643271"/>
                  <a:gd name="connsiteX9" fmla="*/ 821636 w 1643271"/>
                  <a:gd name="connsiteY9" fmla="*/ 1484243 h 16432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43271" h="1643271">
                    <a:moveTo>
                      <a:pt x="821636" y="0"/>
                    </a:moveTo>
                    <a:cubicBezTo>
                      <a:pt x="368579" y="0"/>
                      <a:pt x="0" y="368579"/>
                      <a:pt x="0" y="821636"/>
                    </a:cubicBezTo>
                    <a:cubicBezTo>
                      <a:pt x="0" y="1274693"/>
                      <a:pt x="368579" y="1643272"/>
                      <a:pt x="821636" y="1643272"/>
                    </a:cubicBezTo>
                    <a:cubicBezTo>
                      <a:pt x="1274693" y="1643272"/>
                      <a:pt x="1643272" y="1274693"/>
                      <a:pt x="1643272" y="821636"/>
                    </a:cubicBezTo>
                    <a:cubicBezTo>
                      <a:pt x="1643272" y="368579"/>
                      <a:pt x="1274693" y="0"/>
                      <a:pt x="821636" y="0"/>
                    </a:cubicBezTo>
                    <a:close/>
                    <a:moveTo>
                      <a:pt x="821636" y="1484243"/>
                    </a:moveTo>
                    <a:cubicBezTo>
                      <a:pt x="456276" y="1484243"/>
                      <a:pt x="159029" y="1186986"/>
                      <a:pt x="159029" y="821636"/>
                    </a:cubicBezTo>
                    <a:cubicBezTo>
                      <a:pt x="159029" y="456286"/>
                      <a:pt x="456286" y="159029"/>
                      <a:pt x="821636" y="159029"/>
                    </a:cubicBezTo>
                    <a:cubicBezTo>
                      <a:pt x="1186986" y="159029"/>
                      <a:pt x="1484243" y="456286"/>
                      <a:pt x="1484243" y="821636"/>
                    </a:cubicBezTo>
                    <a:cubicBezTo>
                      <a:pt x="1484243" y="1186986"/>
                      <a:pt x="1186996" y="1484243"/>
                      <a:pt x="821636" y="148424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D" sz="1600"/>
              </a:p>
            </p:txBody>
          </p:sp>
          <p:sp>
            <p:nvSpPr>
              <p:cNvPr id="53" name="Freeform: Shape 52">
                <a:extLst>
                  <a:ext uri="{FF2B5EF4-FFF2-40B4-BE49-F238E27FC236}">
                    <a16:creationId xmlns:a16="http://schemas.microsoft.com/office/drawing/2014/main" id="{8ACE42B8-6B2B-4B4B-94B3-CFF2F814F87E}"/>
                  </a:ext>
                </a:extLst>
              </p:cNvPr>
              <p:cNvSpPr/>
              <p:nvPr/>
            </p:nvSpPr>
            <p:spPr>
              <a:xfrm>
                <a:off x="6732098" y="2262806"/>
                <a:ext cx="424072" cy="424072"/>
              </a:xfrm>
              <a:custGeom>
                <a:avLst/>
                <a:gdLst>
                  <a:gd name="connsiteX0" fmla="*/ 424072 w 424072"/>
                  <a:gd name="connsiteY0" fmla="*/ 212036 h 424072"/>
                  <a:gd name="connsiteX1" fmla="*/ 212036 w 424072"/>
                  <a:gd name="connsiteY1" fmla="*/ 424072 h 424072"/>
                  <a:gd name="connsiteX2" fmla="*/ 0 w 424072"/>
                  <a:gd name="connsiteY2" fmla="*/ 212036 h 424072"/>
                  <a:gd name="connsiteX3" fmla="*/ 212036 w 424072"/>
                  <a:gd name="connsiteY3" fmla="*/ 0 h 424072"/>
                  <a:gd name="connsiteX4" fmla="*/ 424072 w 424072"/>
                  <a:gd name="connsiteY4" fmla="*/ 212036 h 4240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4072" h="424072">
                    <a:moveTo>
                      <a:pt x="424072" y="212036"/>
                    </a:moveTo>
                    <a:cubicBezTo>
                      <a:pt x="424072" y="329140"/>
                      <a:pt x="329140" y="424072"/>
                      <a:pt x="212036" y="424072"/>
                    </a:cubicBezTo>
                    <a:cubicBezTo>
                      <a:pt x="94932" y="424072"/>
                      <a:pt x="0" y="329140"/>
                      <a:pt x="0" y="212036"/>
                    </a:cubicBezTo>
                    <a:cubicBezTo>
                      <a:pt x="0" y="94932"/>
                      <a:pt x="94932" y="0"/>
                      <a:pt x="212036" y="0"/>
                    </a:cubicBezTo>
                    <a:cubicBezTo>
                      <a:pt x="329140" y="0"/>
                      <a:pt x="424072" y="94932"/>
                      <a:pt x="424072" y="212036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D" sz="16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0043760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ADD2C1B-5BCF-406A-A940-C8D7BC075C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ADD2C1B-5BCF-406A-A940-C8D7BC075C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4C769A2C-43A3-4DC4-AD5C-6D84DA95F7F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Tw Cen MT" panose="020B0602020104020603" pitchFamily="34" charset="0"/>
              <a:ea typeface="+mj-ea"/>
              <a:cs typeface="+mj-cs"/>
              <a:sym typeface="Tw Cen MT" panose="020B06020201040206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E143079-A95B-4A64-9443-C957FE2CCD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9E3A7CC-C9D1-4D1E-BAA1-5F1C0AFCE1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B3395B-9734-44D8-AD4F-D8CFC77A7B20}" type="datetime1">
              <a:rPr lang="en-US" smtClean="0"/>
              <a:t>10/23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19FAE53-0CBE-4C42-938A-E47CE742C4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r Internal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1BD3258-BDD1-4918-BF8D-253510A210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ED9603-CE29-4DF5-A47E-D2F9D9769DA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366966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9433752"/>
              </p:ext>
            </p:extLst>
          </p:nvPr>
        </p:nvGraphicFramePr>
        <p:xfrm>
          <a:off x="2161" y="1630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30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Content Placeholder 8">
            <a:extLst>
              <a:ext uri="{FF2B5EF4-FFF2-40B4-BE49-F238E27FC236}">
                <a16:creationId xmlns:a16="http://schemas.microsoft.com/office/drawing/2014/main" id="{508805E9-75A1-0AA7-B18B-65E887D4BED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83" b="10659"/>
          <a:stretch/>
        </p:blipFill>
        <p:spPr>
          <a:xfrm>
            <a:off x="-16670" y="1"/>
            <a:ext cx="12206253" cy="6371201"/>
          </a:xfrm>
          <a:prstGeom prst="rect">
            <a:avLst/>
          </a:prstGeom>
        </p:spPr>
      </p:pic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C578D6D-FF3C-434F-AD21-7BD9339CD92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5979" cy="161974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65" b="1" i="0" baseline="0" dirty="0" err="1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gray">
          <a:xfrm>
            <a:off x="5673810" y="1890275"/>
            <a:ext cx="6059431" cy="1097223"/>
          </a:xfrm>
          <a:prstGeom prst="rect">
            <a:avLst/>
          </a:prstGeom>
        </p:spPr>
        <p:txBody>
          <a:bodyPr vert="horz" wrap="square">
            <a:spAutoFit/>
          </a:bodyPr>
          <a:lstStyle>
            <a:lvl1pPr algn="ctr">
              <a:defRPr sz="3265" b="1" baseline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5503384" y="2980525"/>
            <a:ext cx="6396710" cy="385490"/>
          </a:xfrm>
          <a:prstGeom prst="rect">
            <a:avLst/>
          </a:prstGeom>
        </p:spPr>
        <p:txBody>
          <a:bodyPr wrap="square">
            <a:spAutoFit/>
          </a:bodyPr>
          <a:lstStyle>
            <a:lvl1pPr algn="ctr">
              <a:defRPr sz="1905" baseline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19" name="Document type" hidden="1"/>
          <p:cNvSpPr txBox="1">
            <a:spLocks noChangeArrowheads="1"/>
          </p:cNvSpPr>
          <p:nvPr/>
        </p:nvSpPr>
        <p:spPr bwMode="gray">
          <a:xfrm>
            <a:off x="710750" y="4952105"/>
            <a:ext cx="6714778" cy="299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r>
              <a:rPr lang="en-US" sz="1905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ocument type</a:t>
            </a:r>
            <a:endParaRPr lang="en-US" sz="2449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Date" hidden="1"/>
          <p:cNvSpPr txBox="1">
            <a:spLocks noChangeArrowheads="1"/>
          </p:cNvSpPr>
          <p:nvPr/>
        </p:nvSpPr>
        <p:spPr bwMode="gray">
          <a:xfrm>
            <a:off x="710750" y="5304668"/>
            <a:ext cx="6714778" cy="299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905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ate</a:t>
            </a:r>
            <a:endParaRPr lang="en-US" sz="2449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Disclaimer-PERTAMINA_CF_PRD085" hidden="1"/>
          <p:cNvSpPr>
            <a:spLocks noChangeArrowheads="1"/>
          </p:cNvSpPr>
          <p:nvPr/>
        </p:nvSpPr>
        <p:spPr bwMode="gray">
          <a:xfrm>
            <a:off x="710750" y="6120762"/>
            <a:ext cx="5997729" cy="3420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r>
              <a:rPr lang="en-US" sz="1089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ONFIDENTIAL AND PROPRIETARY</a:t>
            </a:r>
          </a:p>
          <a:p>
            <a:r>
              <a:rPr lang="en-US" sz="1089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ny use of this material without specific permission of PERTAMINA is strictly prohibited</a:t>
            </a:r>
            <a:endParaRPr lang="en-US" sz="2449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909717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0/23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735190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73196703"/>
              </p:ext>
            </p:extLst>
          </p:nvPr>
        </p:nvGraphicFramePr>
        <p:xfrm>
          <a:off x="2161" y="1630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1" y="1630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5F0FF917-955B-4162-ABCA-45D36098D6D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84" b="1" i="0" baseline="0" dirty="0" err="1">
              <a:solidFill>
                <a:schemeClr val="tx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41" name="Do not remove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7278" cy="12958"/>
          </a:xfrm>
          <a:prstGeom prst="octagon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76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600440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61" y="1630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24" imgH="526" progId="TCLayout.ActiveDocument.1">
                  <p:embed/>
                </p:oleObj>
              </mc:Choice>
              <mc:Fallback>
                <p:oleObj name="think-cell Slide" r:id="rId6" imgW="524" imgH="5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61" y="1630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5F0FF917-955B-4162-ABCA-45D36098D6D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84" b="1" i="0" baseline="0" dirty="0" err="1">
              <a:solidFill>
                <a:schemeClr val="tx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SlideLogoSeparator">
            <a:extLst>
              <a:ext uri="{FF2B5EF4-FFF2-40B4-BE49-F238E27FC236}">
                <a16:creationId xmlns:a16="http://schemas.microsoft.com/office/drawing/2014/main" id="{8A93E59B-754F-4650-BACE-568E3D4A2E44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10701746" y="6367111"/>
            <a:ext cx="40891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913617"/>
            <a:r>
              <a:rPr lang="en-US" sz="1224">
                <a:solidFill>
                  <a:srgbClr val="000000"/>
                </a:solidFill>
                <a:latin typeface="Arial"/>
              </a:rPr>
              <a:t>|</a:t>
            </a:r>
          </a:p>
        </p:txBody>
      </p:sp>
      <p:sp>
        <p:nvSpPr>
          <p:cNvPr id="41" name="Do not remove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7278" cy="12958"/>
          </a:xfrm>
          <a:prstGeom prst="octagon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76" err="1">
              <a:solidFill>
                <a:schemeClr val="tx1"/>
              </a:solidFill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161992" y="234864"/>
            <a:ext cx="11725484" cy="397704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/>
        </p:nvSpPr>
        <p:spPr bwMode="gray">
          <a:xfrm>
            <a:off x="10919000" y="6381039"/>
            <a:ext cx="173372" cy="16813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1071" smtClean="0">
                <a:solidFill>
                  <a:srgbClr val="000000"/>
                </a:solidFill>
              </a:rPr>
              <a:pPr/>
              <a:t>‹#›</a:t>
            </a:fld>
            <a:endParaRPr lang="en-US" sz="1071" dirty="0">
              <a:solidFill>
                <a:srgbClr val="000000"/>
              </a:solidFill>
            </a:endParaRPr>
          </a:p>
        </p:txBody>
      </p:sp>
      <p:pic>
        <p:nvPicPr>
          <p:cNvPr id="12" name="Picture 3" descr="Picture 3">
            <a:extLst>
              <a:ext uri="{FF2B5EF4-FFF2-40B4-BE49-F238E27FC236}">
                <a16:creationId xmlns:a16="http://schemas.microsoft.com/office/drawing/2014/main" id="{E9B0F45E-F6C1-49CE-9B98-AE498492710C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753599" y="-36090"/>
            <a:ext cx="2438400" cy="693923"/>
          </a:xfrm>
          <a:prstGeom prst="rect">
            <a:avLst/>
          </a:prstGeom>
          <a:ln w="12700">
            <a:miter lim="400000"/>
          </a:ln>
        </p:spPr>
      </p:pic>
      <p:pic>
        <p:nvPicPr>
          <p:cNvPr id="17" name="Picture 3" descr="Picture 3">
            <a:extLst>
              <a:ext uri="{FF2B5EF4-FFF2-40B4-BE49-F238E27FC236}">
                <a16:creationId xmlns:a16="http://schemas.microsoft.com/office/drawing/2014/main" id="{523CEDFB-577D-4454-BC36-5CA046755DE3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753599" y="-36090"/>
            <a:ext cx="2438400" cy="693923"/>
          </a:xfrm>
          <a:prstGeom prst="rect">
            <a:avLst/>
          </a:prstGeom>
          <a:ln w="12700">
            <a:miter lim="400000"/>
          </a:ln>
        </p:spPr>
      </p:pic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C04002F8-518E-486B-882E-39F38EB1851A}"/>
              </a:ext>
            </a:extLst>
          </p:cNvPr>
          <p:cNvSpPr/>
          <p:nvPr userDrawn="1"/>
        </p:nvSpPr>
        <p:spPr>
          <a:xfrm>
            <a:off x="10100878" y="35635"/>
            <a:ext cx="2002034" cy="566911"/>
          </a:xfrm>
          <a:custGeom>
            <a:avLst/>
            <a:gdLst>
              <a:gd name="connsiteX0" fmla="*/ 0 w 1962150"/>
              <a:gd name="connsiteY0" fmla="*/ 82550 h 555625"/>
              <a:gd name="connsiteX1" fmla="*/ 260350 w 1962150"/>
              <a:gd name="connsiteY1" fmla="*/ 498475 h 555625"/>
              <a:gd name="connsiteX2" fmla="*/ 882650 w 1962150"/>
              <a:gd name="connsiteY2" fmla="*/ 555625 h 555625"/>
              <a:gd name="connsiteX3" fmla="*/ 1962150 w 1962150"/>
              <a:gd name="connsiteY3" fmla="*/ 498475 h 555625"/>
              <a:gd name="connsiteX4" fmla="*/ 1879600 w 1962150"/>
              <a:gd name="connsiteY4" fmla="*/ 0 h 555625"/>
              <a:gd name="connsiteX5" fmla="*/ 0 w 1962150"/>
              <a:gd name="connsiteY5" fmla="*/ 82550 h 555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62150" h="555625">
                <a:moveTo>
                  <a:pt x="0" y="82550"/>
                </a:moveTo>
                <a:lnTo>
                  <a:pt x="260350" y="498475"/>
                </a:lnTo>
                <a:lnTo>
                  <a:pt x="882650" y="555625"/>
                </a:lnTo>
                <a:lnTo>
                  <a:pt x="1962150" y="498475"/>
                </a:lnTo>
                <a:lnTo>
                  <a:pt x="1879600" y="0"/>
                </a:lnTo>
                <a:lnTo>
                  <a:pt x="0" y="82550"/>
                </a:lnTo>
                <a:close/>
              </a:path>
            </a:pathLst>
          </a:cu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 dirty="0" err="1">
              <a:solidFill>
                <a:schemeClr val="tx1"/>
              </a:solidFill>
            </a:endParaRPr>
          </a:p>
        </p:txBody>
      </p:sp>
      <p:pic>
        <p:nvPicPr>
          <p:cNvPr id="19" name="Picture 19" descr="PT Kilang Pertamina Internasional | LinkedIn">
            <a:extLst>
              <a:ext uri="{FF2B5EF4-FFF2-40B4-BE49-F238E27FC236}">
                <a16:creationId xmlns:a16="http://schemas.microsoft.com/office/drawing/2014/main" id="{30DE3277-8A60-42E3-A59C-5096276F8412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543" b="28999"/>
          <a:stretch/>
        </p:blipFill>
        <p:spPr bwMode="auto">
          <a:xfrm>
            <a:off x="10511182" y="29155"/>
            <a:ext cx="1468242" cy="593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4303706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F972F5-5528-4AB5-999A-63726E10DF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1992" y="234864"/>
            <a:ext cx="11725484" cy="397704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61D511D-18CF-4C6F-B303-0941853101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50705" y="2212366"/>
            <a:ext cx="5853024" cy="167449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5496100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490A61A-61D8-4B33-A31C-4AFF84D502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34436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3" imgH="423" progId="TCLayout.ActiveDocument.1">
                  <p:embed/>
                </p:oleObj>
              </mc:Choice>
              <mc:Fallback>
                <p:oleObj name="think-cell Slide" r:id="rId5" imgW="423" imgH="42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490A61A-61D8-4B33-A31C-4AFF84D502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Rectangle 30" hidden="1">
            <a:extLst>
              <a:ext uri="{FF2B5EF4-FFF2-40B4-BE49-F238E27FC236}">
                <a16:creationId xmlns:a16="http://schemas.microsoft.com/office/drawing/2014/main" id="{600BF320-C5AB-4CA8-AE0F-5E09602EA0C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E39D9BB-B5B9-4D83-850B-BB456442203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l="-38" t="13934" b="10994"/>
          <a:stretch/>
        </p:blipFill>
        <p:spPr>
          <a:xfrm>
            <a:off x="1" y="0"/>
            <a:ext cx="12192000" cy="6857898"/>
          </a:xfrm>
          <a:prstGeom prst="rect">
            <a:avLst/>
          </a:prstGeom>
        </p:spPr>
      </p:pic>
      <p:sp>
        <p:nvSpPr>
          <p:cNvPr id="9" name="Rectangle 1026">
            <a:extLst>
              <a:ext uri="{FF2B5EF4-FFF2-40B4-BE49-F238E27FC236}">
                <a16:creationId xmlns:a16="http://schemas.microsoft.com/office/drawing/2014/main" id="{59710BC1-9763-4C70-A07F-1BFB52A85158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 bwMode="gray">
          <a:xfrm>
            <a:off x="5560777" y="1852645"/>
            <a:ext cx="5938716" cy="1077218"/>
          </a:xfrm>
          <a:prstGeom prst="rect">
            <a:avLst/>
          </a:prstGeom>
        </p:spPr>
        <p:txBody>
          <a:bodyPr wrap="square">
            <a:spAutoFit/>
          </a:bodyPr>
          <a:lstStyle>
            <a:lvl1pPr algn="ctr">
              <a:defRPr sz="3200" b="1" baseline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0" name="Rectangle 1027">
            <a:extLst>
              <a:ext uri="{FF2B5EF4-FFF2-40B4-BE49-F238E27FC236}">
                <a16:creationId xmlns:a16="http://schemas.microsoft.com/office/drawing/2014/main" id="{D32700B9-524F-47E0-BA8F-AD2B9A5308CD}"/>
              </a:ext>
            </a:extLst>
          </p:cNvPr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5393746" y="2921190"/>
            <a:ext cx="6269276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algn="ctr">
              <a:defRPr sz="1867" baseline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8AAC588-214C-4600-9662-FFFDCB96499B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14545" y="2474"/>
            <a:ext cx="2077455" cy="606442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97790B37-77D4-4684-B789-4CE85039C9BA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80912" y="-121645"/>
            <a:ext cx="1631650" cy="917989"/>
          </a:xfrm>
          <a:prstGeom prst="rect">
            <a:avLst/>
          </a:prstGeom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E3A7305A-1E9D-46E9-AAF8-7627654FA589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0" y="2473"/>
            <a:ext cx="2130964" cy="606441"/>
            <a:chOff x="516436" y="1735621"/>
            <a:chExt cx="2389823" cy="680109"/>
          </a:xfrm>
        </p:grpSpPr>
        <p:pic>
          <p:nvPicPr>
            <p:cNvPr id="14" name="Picture 3" descr="Picture 3">
              <a:extLst>
                <a:ext uri="{FF2B5EF4-FFF2-40B4-BE49-F238E27FC236}">
                  <a16:creationId xmlns:a16="http://schemas.microsoft.com/office/drawing/2014/main" id="{70CA532D-E73F-4F01-9BA1-D1846AB69F5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0"/>
            <a:stretch>
              <a:fillRect/>
            </a:stretch>
          </p:blipFill>
          <p:spPr>
            <a:xfrm flipH="1">
              <a:off x="516436" y="1735621"/>
              <a:ext cx="2389823" cy="680109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46004F70-44E6-4150-AE22-3F0BC7B0B079}"/>
                </a:ext>
              </a:extLst>
            </p:cNvPr>
            <p:cNvSpPr/>
            <p:nvPr userDrawn="1"/>
          </p:nvSpPr>
          <p:spPr>
            <a:xfrm>
              <a:off x="624012" y="1797887"/>
              <a:ext cx="1922930" cy="537882"/>
            </a:xfrm>
            <a:custGeom>
              <a:avLst/>
              <a:gdLst>
                <a:gd name="connsiteX0" fmla="*/ 0 w 1922930"/>
                <a:gd name="connsiteY0" fmla="*/ 443753 h 537882"/>
                <a:gd name="connsiteX1" fmla="*/ 107577 w 1922930"/>
                <a:gd name="connsiteY1" fmla="*/ 13447 h 537882"/>
                <a:gd name="connsiteX2" fmla="*/ 1922930 w 1922930"/>
                <a:gd name="connsiteY2" fmla="*/ 0 h 537882"/>
                <a:gd name="connsiteX3" fmla="*/ 1788459 w 1922930"/>
                <a:gd name="connsiteY3" fmla="*/ 443753 h 537882"/>
                <a:gd name="connsiteX4" fmla="*/ 1613648 w 1922930"/>
                <a:gd name="connsiteY4" fmla="*/ 537882 h 537882"/>
                <a:gd name="connsiteX5" fmla="*/ 484095 w 1922930"/>
                <a:gd name="connsiteY5" fmla="*/ 524435 h 537882"/>
                <a:gd name="connsiteX6" fmla="*/ 0 w 1922930"/>
                <a:gd name="connsiteY6" fmla="*/ 443753 h 537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22930" h="537882">
                  <a:moveTo>
                    <a:pt x="0" y="443753"/>
                  </a:moveTo>
                  <a:lnTo>
                    <a:pt x="107577" y="13447"/>
                  </a:lnTo>
                  <a:lnTo>
                    <a:pt x="1922930" y="0"/>
                  </a:lnTo>
                  <a:lnTo>
                    <a:pt x="1788459" y="443753"/>
                  </a:lnTo>
                  <a:lnTo>
                    <a:pt x="1613648" y="537882"/>
                  </a:lnTo>
                  <a:lnTo>
                    <a:pt x="484095" y="524435"/>
                  </a:lnTo>
                  <a:lnTo>
                    <a:pt x="0" y="443753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tx1"/>
                </a:solidFill>
              </a:endParaRPr>
            </a:p>
          </p:txBody>
        </p:sp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51C764D1-C8F4-4A7D-9BDC-23DE0E3FD0D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/>
            <a:stretch>
              <a:fillRect/>
            </a:stretch>
          </p:blipFill>
          <p:spPr>
            <a:xfrm>
              <a:off x="724777" y="1914535"/>
              <a:ext cx="1567348" cy="280889"/>
            </a:xfrm>
            <a:prstGeom prst="rect">
              <a:avLst/>
            </a:prstGeom>
          </p:spPr>
        </p:pic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69A3CE8E-A511-4DD4-A1FE-B82EDB317BAB}"/>
              </a:ext>
            </a:extLst>
          </p:cNvPr>
          <p:cNvGrpSpPr/>
          <p:nvPr userDrawn="1"/>
        </p:nvGrpSpPr>
        <p:grpSpPr>
          <a:xfrm>
            <a:off x="-1435099" y="5477540"/>
            <a:ext cx="13754100" cy="800725"/>
            <a:chOff x="-1416070" y="5351647"/>
            <a:chExt cx="13493725" cy="785567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53A34E68-FCEB-4AA3-961F-CA54472D5182}"/>
                </a:ext>
              </a:extLst>
            </p:cNvPr>
            <p:cNvSpPr/>
            <p:nvPr userDrawn="1"/>
          </p:nvSpPr>
          <p:spPr>
            <a:xfrm>
              <a:off x="0" y="5351647"/>
              <a:ext cx="11949113" cy="785567"/>
            </a:xfrm>
            <a:prstGeom prst="rect">
              <a:avLst/>
            </a:prstGeom>
            <a:solidFill>
              <a:schemeClr val="tx1">
                <a:lumMod val="75000"/>
                <a:lumOff val="25000"/>
                <a:alpha val="87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117836" tIns="117836" rIns="117836" bIns="117836" rtlCol="0" anchor="ctr">
              <a:noAutofit/>
            </a:bodyPr>
            <a:lstStyle/>
            <a:p>
              <a:pPr defTabSz="1080873">
                <a:defRPr/>
              </a:pPr>
              <a:endParaRPr lang="en-US" sz="1300">
                <a:solidFill>
                  <a:srgbClr val="C00000"/>
                </a:solidFill>
                <a:ea typeface="ＭＳ Ｐゴシック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9C6D9942-904B-47D8-B601-0A4D99280EE7}"/>
                </a:ext>
              </a:extLst>
            </p:cNvPr>
            <p:cNvSpPr/>
            <p:nvPr userDrawn="1"/>
          </p:nvSpPr>
          <p:spPr>
            <a:xfrm>
              <a:off x="5974556" y="5351647"/>
              <a:ext cx="5974563" cy="785567"/>
            </a:xfrm>
            <a:prstGeom prst="rect">
              <a:avLst/>
            </a:prstGeom>
            <a:solidFill>
              <a:schemeClr val="tx1">
                <a:lumMod val="85000"/>
                <a:lumOff val="15000"/>
                <a:alpha val="87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117836" tIns="117836" rIns="117836" bIns="117836" rtlCol="0" anchor="ctr">
              <a:noAutofit/>
            </a:bodyPr>
            <a:lstStyle/>
            <a:p>
              <a:pPr defTabSz="1080873">
                <a:defRPr/>
              </a:pPr>
              <a:endParaRPr lang="en-US" sz="1100">
                <a:solidFill>
                  <a:srgbClr val="C00000"/>
                </a:solidFill>
                <a:ea typeface="ＭＳ Ｐゴシック"/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D4425FC9-0CC8-4686-97C7-81175B8077D3}"/>
                </a:ext>
              </a:extLst>
            </p:cNvPr>
            <p:cNvSpPr txBox="1"/>
            <p:nvPr userDrawn="1"/>
          </p:nvSpPr>
          <p:spPr>
            <a:xfrm>
              <a:off x="6096005" y="5467431"/>
              <a:ext cx="3577384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108087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b="1" dirty="0">
                  <a:solidFill>
                    <a:schemeClr val="bg1"/>
                  </a:solidFill>
                  <a:latin typeface="Tw Cen MT" panose="020B0602020104020603" pitchFamily="34" charset="0"/>
                  <a:ea typeface="ＭＳ Ｐゴシック"/>
                </a:rPr>
                <a:t>PT </a:t>
              </a:r>
              <a:r>
                <a:rPr lang="en-US" sz="1000" b="1" dirty="0" err="1">
                  <a:solidFill>
                    <a:schemeClr val="bg1"/>
                  </a:solidFill>
                  <a:latin typeface="Tw Cen MT" panose="020B0602020104020603" pitchFamily="34" charset="0"/>
                  <a:ea typeface="ＭＳ Ｐゴシック"/>
                </a:rPr>
                <a:t>Kilang</a:t>
              </a:r>
              <a:r>
                <a:rPr lang="en-US" sz="1000" b="1" dirty="0">
                  <a:solidFill>
                    <a:schemeClr val="bg1"/>
                  </a:solidFill>
                  <a:latin typeface="Tw Cen MT" panose="020B0602020104020603" pitchFamily="34" charset="0"/>
                  <a:ea typeface="ＭＳ Ｐゴシック"/>
                </a:rPr>
                <a:t> </a:t>
              </a:r>
              <a:r>
                <a:rPr lang="en-US" sz="1000" b="1" dirty="0" err="1">
                  <a:solidFill>
                    <a:schemeClr val="bg1"/>
                  </a:solidFill>
                  <a:latin typeface="Tw Cen MT" panose="020B0602020104020603" pitchFamily="34" charset="0"/>
                  <a:ea typeface="ＭＳ Ｐゴシック"/>
                </a:rPr>
                <a:t>Pertamina</a:t>
              </a:r>
              <a:r>
                <a:rPr lang="en-US" sz="1000" b="1" dirty="0">
                  <a:solidFill>
                    <a:schemeClr val="bg1"/>
                  </a:solidFill>
                  <a:latin typeface="Tw Cen MT" panose="020B0602020104020603" pitchFamily="34" charset="0"/>
                  <a:ea typeface="ＭＳ Ｐゴシック"/>
                </a:rPr>
                <a:t> </a:t>
              </a:r>
              <a:r>
                <a:rPr lang="en-US" sz="1000" b="1" dirty="0" err="1">
                  <a:solidFill>
                    <a:schemeClr val="bg1"/>
                  </a:solidFill>
                  <a:latin typeface="Tw Cen MT" panose="020B0602020104020603" pitchFamily="34" charset="0"/>
                  <a:ea typeface="ＭＳ Ｐゴシック"/>
                </a:rPr>
                <a:t>Internasional</a:t>
              </a:r>
              <a:endParaRPr lang="en-US" sz="1000" b="1" dirty="0">
                <a:solidFill>
                  <a:schemeClr val="bg1"/>
                </a:solidFill>
                <a:latin typeface="Tw Cen MT" panose="020B0602020104020603" pitchFamily="34" charset="0"/>
                <a:ea typeface="ＭＳ Ｐゴシック"/>
              </a:endParaRPr>
            </a:p>
            <a:p>
              <a:pPr defTabSz="108087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b="0" dirty="0">
                  <a:solidFill>
                    <a:schemeClr val="bg1"/>
                  </a:solidFill>
                  <a:latin typeface="Tw Cen MT" panose="020B0602020104020603" pitchFamily="34" charset="0"/>
                  <a:ea typeface="ＭＳ Ｐゴシック"/>
                </a:rPr>
                <a:t>Refining and Petrochemical Business Group of </a:t>
              </a:r>
              <a:r>
                <a:rPr lang="en-US" sz="1000" b="0" dirty="0" err="1">
                  <a:solidFill>
                    <a:schemeClr val="bg1"/>
                  </a:solidFill>
                  <a:latin typeface="Tw Cen MT" panose="020B0602020104020603" pitchFamily="34" charset="0"/>
                  <a:ea typeface="ＭＳ Ｐゴシック"/>
                </a:rPr>
                <a:t>Pertamina</a:t>
              </a:r>
              <a:r>
                <a:rPr lang="en-US" sz="1000" b="1" dirty="0">
                  <a:solidFill>
                    <a:schemeClr val="bg1"/>
                  </a:solidFill>
                  <a:latin typeface="Tw Cen MT" panose="020B0602020104020603" pitchFamily="34" charset="0"/>
                  <a:ea typeface="ＭＳ Ｐゴシック"/>
                </a:rPr>
                <a:t> </a:t>
              </a:r>
            </a:p>
            <a:p>
              <a:pPr defTabSz="108087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b="1" dirty="0" err="1">
                  <a:solidFill>
                    <a:schemeClr val="bg1"/>
                  </a:solidFill>
                  <a:latin typeface="Tw Cen MT" panose="020B0602020104020603" pitchFamily="34" charset="0"/>
                  <a:ea typeface="ＭＳ Ｐゴシック"/>
                </a:rPr>
                <a:t>Tahun</a:t>
              </a:r>
              <a:r>
                <a:rPr lang="en-US" sz="1000" b="1" dirty="0">
                  <a:solidFill>
                    <a:schemeClr val="bg1"/>
                  </a:solidFill>
                  <a:latin typeface="Tw Cen MT" panose="020B0602020104020603" pitchFamily="34" charset="0"/>
                  <a:ea typeface="ＭＳ Ｐゴシック"/>
                </a:rPr>
                <a:t> 2020</a:t>
              </a:r>
            </a:p>
          </p:txBody>
        </p:sp>
        <p:sp>
          <p:nvSpPr>
            <p:cNvPr id="21" name="McK Disclaimer">
              <a:extLst>
                <a:ext uri="{FF2B5EF4-FFF2-40B4-BE49-F238E27FC236}">
                  <a16:creationId xmlns:a16="http://schemas.microsoft.com/office/drawing/2014/main" id="{2757C094-F5FE-4977-A764-8D5EF7146208}"/>
                </a:ext>
              </a:extLst>
            </p:cNvPr>
            <p:cNvSpPr>
              <a:spLocks noChangeArrowheads="1"/>
            </p:cNvSpPr>
            <p:nvPr userDrawn="1">
              <p:custDataLst>
                <p:tags r:id="rId3"/>
              </p:custDataLst>
            </p:nvPr>
          </p:nvSpPr>
          <p:spPr bwMode="auto">
            <a:xfrm>
              <a:off x="9913647" y="5513138"/>
              <a:ext cx="2164008" cy="4621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defTabSz="960055" eaLnBrk="0" hangingPunct="0">
                <a:defRPr/>
              </a:pPr>
              <a:r>
                <a:rPr lang="en-US" altLang="ko-KR" sz="1000" b="1" dirty="0">
                  <a:solidFill>
                    <a:schemeClr val="bg1"/>
                  </a:solidFill>
                  <a:latin typeface="Tw Cen MT" panose="020B0602020104020603" pitchFamily="34" charset="0"/>
                  <a:ea typeface="Gulim" pitchFamily="34" charset="-127"/>
                </a:rPr>
                <a:t>Jl. Medan Merdeka Timur 1A</a:t>
              </a:r>
            </a:p>
            <a:p>
              <a:pPr defTabSz="960055" eaLnBrk="0" hangingPunct="0">
                <a:defRPr/>
              </a:pPr>
              <a:r>
                <a:rPr lang="en-US" altLang="ko-KR" sz="1000" b="1" dirty="0">
                  <a:solidFill>
                    <a:schemeClr val="bg1"/>
                  </a:solidFill>
                  <a:latin typeface="Tw Cen MT" panose="020B0602020104020603" pitchFamily="34" charset="0"/>
                  <a:ea typeface="Gulim" pitchFamily="34" charset="-127"/>
                </a:rPr>
                <a:t>Jakarta, Indonesia 10110</a:t>
              </a:r>
            </a:p>
            <a:p>
              <a:pPr defTabSz="960055" eaLnBrk="0" hangingPunct="0">
                <a:defRPr/>
              </a:pPr>
              <a:r>
                <a:rPr lang="en-US" altLang="ko-KR" sz="1000" b="1" dirty="0">
                  <a:solidFill>
                    <a:schemeClr val="bg1"/>
                  </a:solidFill>
                  <a:latin typeface="Tw Cen MT" panose="020B0602020104020603" pitchFamily="34" charset="0"/>
                  <a:ea typeface="Gulim" pitchFamily="34" charset="-127"/>
                </a:rPr>
                <a:t>Email : pcc@pertamina.com</a:t>
              </a:r>
            </a:p>
          </p:txBody>
        </p: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0EB25226-FC47-4CDB-94CA-86CDCC344FAF}"/>
                </a:ext>
              </a:extLst>
            </p:cNvPr>
            <p:cNvCxnSpPr/>
            <p:nvPr userDrawn="1"/>
          </p:nvCxnSpPr>
          <p:spPr>
            <a:xfrm flipV="1">
              <a:off x="9702174" y="5559703"/>
              <a:ext cx="0" cy="36945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4A44E648-99FD-4DC4-A674-DA194B13C505}"/>
                </a:ext>
              </a:extLst>
            </p:cNvPr>
            <p:cNvSpPr/>
            <p:nvPr userDrawn="1"/>
          </p:nvSpPr>
          <p:spPr>
            <a:xfrm>
              <a:off x="-1416070" y="5450941"/>
              <a:ext cx="7296877" cy="55455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en-US" sz="1000" dirty="0">
                  <a:solidFill>
                    <a:schemeClr val="bg1"/>
                  </a:solidFill>
                  <a:latin typeface="Tw Cen MT" panose="020B0602020104020603" pitchFamily="34" charset="0"/>
                </a:rPr>
                <a:t>RAHASIA DAN HAK MILIK (CONFIDENTIAL AND PROPRIETARY)</a:t>
              </a:r>
            </a:p>
            <a:p>
              <a:pPr algn="r"/>
              <a:r>
                <a:rPr lang="en-US" sz="1000" dirty="0" err="1">
                  <a:solidFill>
                    <a:schemeClr val="bg1"/>
                  </a:solidFill>
                  <a:latin typeface="Tw Cen MT" panose="020B0602020104020603" pitchFamily="34" charset="0"/>
                </a:rPr>
                <a:t>Dilarang</a:t>
              </a:r>
              <a:r>
                <a:rPr lang="en-US" sz="1000" dirty="0">
                  <a:solidFill>
                    <a:schemeClr val="bg1"/>
                  </a:solidFill>
                  <a:latin typeface="Tw Cen MT" panose="020B0602020104020603" pitchFamily="34" charset="0"/>
                </a:rPr>
                <a:t> </a:t>
              </a:r>
              <a:r>
                <a:rPr lang="en-US" sz="1000" dirty="0" err="1">
                  <a:solidFill>
                    <a:schemeClr val="bg1"/>
                  </a:solidFill>
                  <a:latin typeface="Tw Cen MT" panose="020B0602020104020603" pitchFamily="34" charset="0"/>
                </a:rPr>
                <a:t>menggunakan</a:t>
              </a:r>
              <a:r>
                <a:rPr lang="en-US" sz="1000" dirty="0">
                  <a:solidFill>
                    <a:schemeClr val="bg1"/>
                  </a:solidFill>
                  <a:latin typeface="Tw Cen MT" panose="020B0602020104020603" pitchFamily="34" charset="0"/>
                </a:rPr>
                <a:t> material </a:t>
              </a:r>
              <a:r>
                <a:rPr lang="en-US" sz="1000" dirty="0" err="1">
                  <a:solidFill>
                    <a:schemeClr val="bg1"/>
                  </a:solidFill>
                  <a:latin typeface="Tw Cen MT" panose="020B0602020104020603" pitchFamily="34" charset="0"/>
                </a:rPr>
                <a:t>ini</a:t>
              </a:r>
              <a:r>
                <a:rPr lang="en-US" sz="1000" dirty="0">
                  <a:solidFill>
                    <a:schemeClr val="bg1"/>
                  </a:solidFill>
                  <a:latin typeface="Tw Cen MT" panose="020B0602020104020603" pitchFamily="34" charset="0"/>
                </a:rPr>
                <a:t> </a:t>
              </a:r>
              <a:r>
                <a:rPr lang="en-US" sz="1000" dirty="0" err="1">
                  <a:solidFill>
                    <a:schemeClr val="bg1"/>
                  </a:solidFill>
                  <a:latin typeface="Tw Cen MT" panose="020B0602020104020603" pitchFamily="34" charset="0"/>
                </a:rPr>
                <a:t>untuk</a:t>
              </a:r>
              <a:r>
                <a:rPr lang="en-US" sz="1000" dirty="0">
                  <a:solidFill>
                    <a:schemeClr val="bg1"/>
                  </a:solidFill>
                  <a:latin typeface="Tw Cen MT" panose="020B0602020104020603" pitchFamily="34" charset="0"/>
                </a:rPr>
                <a:t> </a:t>
              </a:r>
              <a:r>
                <a:rPr lang="en-US" sz="1000" dirty="0" err="1">
                  <a:solidFill>
                    <a:schemeClr val="bg1"/>
                  </a:solidFill>
                  <a:latin typeface="Tw Cen MT" panose="020B0602020104020603" pitchFamily="34" charset="0"/>
                </a:rPr>
                <a:t>keperluan</a:t>
              </a:r>
              <a:r>
                <a:rPr lang="en-US" sz="1000" dirty="0">
                  <a:solidFill>
                    <a:schemeClr val="bg1"/>
                  </a:solidFill>
                  <a:latin typeface="Tw Cen MT" panose="020B0602020104020603" pitchFamily="34" charset="0"/>
                </a:rPr>
                <a:t> </a:t>
              </a:r>
              <a:r>
                <a:rPr lang="en-US" sz="1000" dirty="0" err="1">
                  <a:solidFill>
                    <a:schemeClr val="bg1"/>
                  </a:solidFill>
                  <a:latin typeface="Tw Cen MT" panose="020B0602020104020603" pitchFamily="34" charset="0"/>
                </a:rPr>
                <a:t>apapun</a:t>
              </a:r>
              <a:r>
                <a:rPr lang="en-US" sz="1000" dirty="0">
                  <a:solidFill>
                    <a:schemeClr val="bg1"/>
                  </a:solidFill>
                  <a:latin typeface="Tw Cen MT" panose="020B0602020104020603" pitchFamily="34" charset="0"/>
                </a:rPr>
                <a:t> </a:t>
              </a:r>
              <a:r>
                <a:rPr lang="en-US" sz="1000" dirty="0" err="1">
                  <a:solidFill>
                    <a:schemeClr val="bg1"/>
                  </a:solidFill>
                  <a:latin typeface="Tw Cen MT" panose="020B0602020104020603" pitchFamily="34" charset="0"/>
                </a:rPr>
                <a:t>tanpa</a:t>
              </a:r>
              <a:r>
                <a:rPr lang="en-US" sz="1000" dirty="0">
                  <a:solidFill>
                    <a:schemeClr val="bg1"/>
                  </a:solidFill>
                  <a:latin typeface="Tw Cen MT" panose="020B0602020104020603" pitchFamily="34" charset="0"/>
                </a:rPr>
                <a:t> </a:t>
              </a:r>
              <a:r>
                <a:rPr lang="en-US" sz="1000" dirty="0" err="1">
                  <a:solidFill>
                    <a:schemeClr val="bg1"/>
                  </a:solidFill>
                  <a:latin typeface="Tw Cen MT" panose="020B0602020104020603" pitchFamily="34" charset="0"/>
                </a:rPr>
                <a:t>ijin</a:t>
              </a:r>
              <a:r>
                <a:rPr lang="en-US" sz="1000" dirty="0">
                  <a:solidFill>
                    <a:schemeClr val="bg1"/>
                  </a:solidFill>
                  <a:latin typeface="Tw Cen MT" panose="020B0602020104020603" pitchFamily="34" charset="0"/>
                </a:rPr>
                <a:t> </a:t>
              </a:r>
              <a:r>
                <a:rPr lang="en-US" sz="1000" dirty="0" err="1">
                  <a:solidFill>
                    <a:schemeClr val="bg1"/>
                  </a:solidFill>
                  <a:latin typeface="Tw Cen MT" panose="020B0602020104020603" pitchFamily="34" charset="0"/>
                </a:rPr>
                <a:t>dari</a:t>
              </a:r>
              <a:r>
                <a:rPr lang="en-US" sz="1000" dirty="0">
                  <a:solidFill>
                    <a:schemeClr val="bg1"/>
                  </a:solidFill>
                  <a:latin typeface="Tw Cen MT" panose="020B0602020104020603" pitchFamily="34" charset="0"/>
                </a:rPr>
                <a:t> PT KPI</a:t>
              </a:r>
            </a:p>
            <a:p>
              <a:pPr algn="r"/>
              <a:r>
                <a:rPr lang="en-US" sz="1000" dirty="0">
                  <a:solidFill>
                    <a:schemeClr val="bg1"/>
                  </a:solidFill>
                  <a:latin typeface="Tw Cen MT" panose="020B0602020104020603" pitchFamily="34" charset="0"/>
                </a:rPr>
                <a:t>(Any use of this material without specific permission of PT KPI is strictly prohibited)</a:t>
              </a: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52E8F04-A3CC-4B72-960A-B90D56EB0C65}"/>
              </a:ext>
            </a:extLst>
          </p:cNvPr>
          <p:cNvGrpSpPr/>
          <p:nvPr userDrawn="1"/>
        </p:nvGrpSpPr>
        <p:grpSpPr>
          <a:xfrm>
            <a:off x="1" y="6150294"/>
            <a:ext cx="12191997" cy="828356"/>
            <a:chOff x="0" y="6024283"/>
            <a:chExt cx="11949113" cy="811854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C5E728B3-94C8-4D62-ADC4-FA7B3CD6DC04}"/>
                </a:ext>
              </a:extLst>
            </p:cNvPr>
            <p:cNvSpPr/>
            <p:nvPr userDrawn="1"/>
          </p:nvSpPr>
          <p:spPr>
            <a:xfrm>
              <a:off x="0" y="6137222"/>
              <a:ext cx="11949113" cy="58405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39943">
                <a:defRPr/>
              </a:pPr>
              <a:endParaRPr lang="en-US" sz="2048">
                <a:solidFill>
                  <a:prstClr val="white"/>
                </a:solidFill>
              </a:endParaRPr>
            </a:p>
          </p:txBody>
        </p:sp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D6AD7C27-666E-453E-B103-69255CB1E40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1227315" y="6232605"/>
              <a:ext cx="392282" cy="393288"/>
            </a:xfrm>
            <a:prstGeom prst="rect">
              <a:avLst/>
            </a:prstGeom>
          </p:spPr>
        </p:pic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C80668AE-3BED-4393-8966-33DCA930424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6024283"/>
              <a:ext cx="1541600" cy="697001"/>
            </a:xfrm>
            <a:prstGeom prst="rect">
              <a:avLst/>
            </a:prstGeom>
          </p:spPr>
        </p:pic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00525841-8449-44F2-B423-7A85CF58F39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4"/>
            <a:stretch>
              <a:fillRect/>
            </a:stretch>
          </p:blipFill>
          <p:spPr>
            <a:xfrm>
              <a:off x="4850606" y="6270628"/>
              <a:ext cx="2247900" cy="56550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6797918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490A61A-61D8-4B33-A31C-4AFF84D502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78122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23" imgH="423" progId="TCLayout.ActiveDocument.1">
                  <p:embed/>
                </p:oleObj>
              </mc:Choice>
              <mc:Fallback>
                <p:oleObj name="think-cell Slide" r:id="rId6" imgW="423" imgH="42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490A61A-61D8-4B33-A31C-4AFF84D502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Rectangle 30" hidden="1">
            <a:extLst>
              <a:ext uri="{FF2B5EF4-FFF2-40B4-BE49-F238E27FC236}">
                <a16:creationId xmlns:a16="http://schemas.microsoft.com/office/drawing/2014/main" id="{600BF320-C5AB-4CA8-AE0F-5E09602EA0C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 dirty="0">
              <a:latin typeface="Tw Cen MT" panose="020B0602020104020603" pitchFamily="34" charset="0"/>
              <a:ea typeface="Tahoma" panose="020B0604030504040204" pitchFamily="34" charset="0"/>
              <a:cs typeface="Tahoma" panose="020B0604030504040204" pitchFamily="34" charset="0"/>
              <a:sym typeface="Tw Cen MT" panose="020B0602020104020603" pitchFamily="34" charset="0"/>
            </a:endParaRPr>
          </a:p>
        </p:txBody>
      </p:sp>
      <p:pic>
        <p:nvPicPr>
          <p:cNvPr id="3" name="Picture 2" descr="A large ship in a body of water&#10;&#10;Description automatically generated">
            <a:extLst>
              <a:ext uri="{FF2B5EF4-FFF2-40B4-BE49-F238E27FC236}">
                <a16:creationId xmlns:a16="http://schemas.microsoft.com/office/drawing/2014/main" id="{2E671677-5E18-4722-98C2-300BA561BC2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/>
          <a:srcRect t="7318" b="2592"/>
          <a:stretch/>
        </p:blipFill>
        <p:spPr>
          <a:xfrm>
            <a:off x="-434" y="1"/>
            <a:ext cx="12204000" cy="6186229"/>
          </a:xfrm>
          <a:prstGeom prst="rect">
            <a:avLst/>
          </a:prstGeom>
        </p:spPr>
      </p:pic>
      <p:sp>
        <p:nvSpPr>
          <p:cNvPr id="9" name="Rectangle 1026">
            <a:extLst>
              <a:ext uri="{FF2B5EF4-FFF2-40B4-BE49-F238E27FC236}">
                <a16:creationId xmlns:a16="http://schemas.microsoft.com/office/drawing/2014/main" id="{59710BC1-9763-4C70-A07F-1BFB52A85158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 bwMode="gray">
          <a:xfrm>
            <a:off x="5968925" y="1518522"/>
            <a:ext cx="5938716" cy="584775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3200" b="1" baseline="0">
                <a:solidFill>
                  <a:schemeClr val="bg1"/>
                </a:solidFill>
                <a:latin typeface="Tw Cen MT" panose="020B0602020104020603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0" name="Rectangle 1027">
            <a:extLst>
              <a:ext uri="{FF2B5EF4-FFF2-40B4-BE49-F238E27FC236}">
                <a16:creationId xmlns:a16="http://schemas.microsoft.com/office/drawing/2014/main" id="{D32700B9-524F-47E0-BA8F-AD2B9A5308CD}"/>
              </a:ext>
            </a:extLst>
          </p:cNvPr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5968926" y="2362390"/>
            <a:ext cx="6269276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67" baseline="0">
                <a:solidFill>
                  <a:schemeClr val="bg1"/>
                </a:solidFill>
                <a:latin typeface="Tw Cen MT" panose="020B0602020104020603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8AAC588-214C-4600-9662-FFFDCB96499B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14545" y="2474"/>
            <a:ext cx="2077455" cy="606442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97790B37-77D4-4684-B789-4CE85039C9BA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80912" y="-121645"/>
            <a:ext cx="1631650" cy="917989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53A34E68-FCEB-4AA3-961F-CA54472D5182}"/>
              </a:ext>
            </a:extLst>
          </p:cNvPr>
          <p:cNvSpPr/>
          <p:nvPr userDrawn="1"/>
        </p:nvSpPr>
        <p:spPr>
          <a:xfrm>
            <a:off x="8294" y="5333156"/>
            <a:ext cx="6084843" cy="800725"/>
          </a:xfrm>
          <a:prstGeom prst="rect">
            <a:avLst/>
          </a:prstGeom>
          <a:solidFill>
            <a:srgbClr val="2F695C">
              <a:alpha val="83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lIns="117834" tIns="117834" rIns="117834" bIns="117834" rtlCol="0" anchor="ctr">
            <a:noAutofit/>
          </a:bodyPr>
          <a:lstStyle/>
          <a:p>
            <a:pPr defTabSz="1080873">
              <a:defRPr/>
            </a:pPr>
            <a:endParaRPr lang="en-US" sz="1300">
              <a:solidFill>
                <a:srgbClr val="C00000"/>
              </a:solidFill>
              <a:ea typeface="ＭＳ Ｐゴシック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9C6D9942-904B-47D8-B601-0A4D99280EE7}"/>
              </a:ext>
            </a:extLst>
          </p:cNvPr>
          <p:cNvSpPr/>
          <p:nvPr userDrawn="1"/>
        </p:nvSpPr>
        <p:spPr>
          <a:xfrm>
            <a:off x="6093137" y="5333156"/>
            <a:ext cx="6110429" cy="800725"/>
          </a:xfrm>
          <a:prstGeom prst="rect">
            <a:avLst/>
          </a:prstGeom>
          <a:solidFill>
            <a:srgbClr val="0E201C"/>
          </a:solidFill>
          <a:ln w="9525">
            <a:noFill/>
            <a:miter lim="800000"/>
            <a:headEnd/>
            <a:tailEnd/>
          </a:ln>
          <a:effectLst/>
        </p:spPr>
        <p:txBody>
          <a:bodyPr lIns="117834" tIns="117834" rIns="117834" bIns="117834" rtlCol="0" anchor="ctr">
            <a:noAutofit/>
          </a:bodyPr>
          <a:lstStyle/>
          <a:p>
            <a:pPr defTabSz="1080873">
              <a:defRPr/>
            </a:pPr>
            <a:endParaRPr lang="en-US" sz="1100">
              <a:solidFill>
                <a:srgbClr val="C00000"/>
              </a:solidFill>
              <a:ea typeface="ＭＳ Ｐゴシック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4425FC9-0CC8-4686-97C7-81175B8077D3}"/>
              </a:ext>
            </a:extLst>
          </p:cNvPr>
          <p:cNvSpPr txBox="1"/>
          <p:nvPr userDrawn="1"/>
        </p:nvSpPr>
        <p:spPr>
          <a:xfrm>
            <a:off x="6221928" y="5451173"/>
            <a:ext cx="3646413" cy="5646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8087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1" dirty="0">
                <a:solidFill>
                  <a:schemeClr val="bg1"/>
                </a:solidFill>
                <a:latin typeface="Tw Cen MT" panose="020B0602020104020603" pitchFamily="34" charset="0"/>
                <a:ea typeface="ＭＳ Ｐゴシック"/>
              </a:rPr>
              <a:t>PT </a:t>
            </a:r>
            <a:r>
              <a:rPr lang="en-US" sz="1000" b="1" dirty="0" err="1">
                <a:solidFill>
                  <a:schemeClr val="bg1"/>
                </a:solidFill>
                <a:latin typeface="Tw Cen MT" panose="020B0602020104020603" pitchFamily="34" charset="0"/>
                <a:ea typeface="ＭＳ Ｐゴシック"/>
              </a:rPr>
              <a:t>Kilang</a:t>
            </a:r>
            <a:r>
              <a:rPr lang="en-US" sz="1000" b="1" dirty="0">
                <a:solidFill>
                  <a:schemeClr val="bg1"/>
                </a:solidFill>
                <a:latin typeface="Tw Cen MT" panose="020B0602020104020603" pitchFamily="34" charset="0"/>
                <a:ea typeface="ＭＳ Ｐゴシック"/>
              </a:rPr>
              <a:t> </a:t>
            </a:r>
            <a:r>
              <a:rPr lang="en-US" sz="1000" b="1" dirty="0" err="1">
                <a:solidFill>
                  <a:schemeClr val="bg1"/>
                </a:solidFill>
                <a:latin typeface="Tw Cen MT" panose="020B0602020104020603" pitchFamily="34" charset="0"/>
                <a:ea typeface="ＭＳ Ｐゴシック"/>
              </a:rPr>
              <a:t>Pertamina</a:t>
            </a:r>
            <a:r>
              <a:rPr lang="en-US" sz="1000" b="1" dirty="0">
                <a:solidFill>
                  <a:schemeClr val="bg1"/>
                </a:solidFill>
                <a:latin typeface="Tw Cen MT" panose="020B0602020104020603" pitchFamily="34" charset="0"/>
                <a:ea typeface="ＭＳ Ｐゴシック"/>
              </a:rPr>
              <a:t> </a:t>
            </a:r>
            <a:r>
              <a:rPr lang="en-US" sz="1000" b="1" dirty="0" err="1">
                <a:solidFill>
                  <a:schemeClr val="bg1"/>
                </a:solidFill>
                <a:latin typeface="Tw Cen MT" panose="020B0602020104020603" pitchFamily="34" charset="0"/>
                <a:ea typeface="ＭＳ Ｐゴシック"/>
              </a:rPr>
              <a:t>Internasional</a:t>
            </a:r>
            <a:endParaRPr lang="en-US" sz="1000" b="1" dirty="0">
              <a:solidFill>
                <a:schemeClr val="bg1"/>
              </a:solidFill>
              <a:latin typeface="Tw Cen MT" panose="020B0602020104020603" pitchFamily="34" charset="0"/>
              <a:ea typeface="ＭＳ Ｐゴシック"/>
            </a:endParaRPr>
          </a:p>
          <a:p>
            <a:pPr defTabSz="108087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1" dirty="0">
                <a:solidFill>
                  <a:schemeClr val="bg1"/>
                </a:solidFill>
                <a:latin typeface="Tw Cen MT" panose="020B0602020104020603" pitchFamily="34" charset="0"/>
                <a:ea typeface="ＭＳ Ｐゴシック"/>
              </a:rPr>
              <a:t>(Refining and Petrochemical Business Group of </a:t>
            </a:r>
            <a:r>
              <a:rPr lang="en-US" sz="1000" b="1" dirty="0" err="1">
                <a:solidFill>
                  <a:schemeClr val="bg1"/>
                </a:solidFill>
                <a:latin typeface="Tw Cen MT" panose="020B0602020104020603" pitchFamily="34" charset="0"/>
                <a:ea typeface="ＭＳ Ｐゴシック"/>
              </a:rPr>
              <a:t>Pertamina</a:t>
            </a:r>
            <a:r>
              <a:rPr lang="en-US" sz="1000" b="1" dirty="0">
                <a:solidFill>
                  <a:schemeClr val="bg1"/>
                </a:solidFill>
                <a:latin typeface="Tw Cen MT" panose="020B0602020104020603" pitchFamily="34" charset="0"/>
                <a:ea typeface="ＭＳ Ｐゴシック"/>
              </a:rPr>
              <a:t>) </a:t>
            </a:r>
          </a:p>
          <a:p>
            <a:pPr defTabSz="108087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0" dirty="0" err="1">
                <a:solidFill>
                  <a:schemeClr val="bg1"/>
                </a:solidFill>
                <a:latin typeface="Tw Cen MT" panose="020B0602020104020603" pitchFamily="34" charset="0"/>
                <a:ea typeface="ＭＳ Ｐゴシック"/>
              </a:rPr>
              <a:t>Tahun</a:t>
            </a:r>
            <a:r>
              <a:rPr lang="en-US" sz="1000" b="0" dirty="0">
                <a:solidFill>
                  <a:schemeClr val="bg1"/>
                </a:solidFill>
                <a:latin typeface="Tw Cen MT" panose="020B0602020104020603" pitchFamily="34" charset="0"/>
                <a:ea typeface="ＭＳ Ｐゴシック"/>
              </a:rPr>
              <a:t> 2021</a:t>
            </a:r>
          </a:p>
        </p:txBody>
      </p:sp>
      <p:sp>
        <p:nvSpPr>
          <p:cNvPr id="21" name="McK Disclaimer">
            <a:extLst>
              <a:ext uri="{FF2B5EF4-FFF2-40B4-BE49-F238E27FC236}">
                <a16:creationId xmlns:a16="http://schemas.microsoft.com/office/drawing/2014/main" id="{2757C094-F5FE-4977-A764-8D5EF714620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9763985" y="5576506"/>
            <a:ext cx="2205765" cy="3140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/>
          <a:p>
            <a:pPr defTabSz="960055" eaLnBrk="0" hangingPunct="0">
              <a:defRPr/>
            </a:pPr>
            <a:r>
              <a:rPr lang="en-US" altLang="ko-KR" sz="1000" b="1" dirty="0">
                <a:solidFill>
                  <a:schemeClr val="bg1"/>
                </a:solidFill>
                <a:latin typeface="Tw Cen MT" panose="020B0602020104020603" pitchFamily="34" charset="0"/>
                <a:ea typeface="Gulim" pitchFamily="34" charset="-127"/>
              </a:rPr>
              <a:t>Jl. Medan Merdeka Timur 1A</a:t>
            </a:r>
          </a:p>
          <a:p>
            <a:pPr defTabSz="960055" eaLnBrk="0" hangingPunct="0">
              <a:defRPr/>
            </a:pPr>
            <a:r>
              <a:rPr lang="en-US" altLang="ko-KR" sz="1000" b="1" dirty="0">
                <a:solidFill>
                  <a:schemeClr val="bg1"/>
                </a:solidFill>
                <a:latin typeface="Tw Cen MT" panose="020B0602020104020603" pitchFamily="34" charset="0"/>
                <a:ea typeface="Gulim" pitchFamily="34" charset="-127"/>
              </a:rPr>
              <a:t>Jakarta, Indonesia 10110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0EB25226-FC47-4CDB-94CA-86CDCC344FAF}"/>
              </a:ext>
            </a:extLst>
          </p:cNvPr>
          <p:cNvCxnSpPr/>
          <p:nvPr userDrawn="1"/>
        </p:nvCxnSpPr>
        <p:spPr>
          <a:xfrm flipV="1">
            <a:off x="9548432" y="5545226"/>
            <a:ext cx="0" cy="376584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tangle 25">
            <a:extLst>
              <a:ext uri="{FF2B5EF4-FFF2-40B4-BE49-F238E27FC236}">
                <a16:creationId xmlns:a16="http://schemas.microsoft.com/office/drawing/2014/main" id="{4A44E648-99FD-4DC4-A674-DA194B13C505}"/>
              </a:ext>
            </a:extLst>
          </p:cNvPr>
          <p:cNvSpPr/>
          <p:nvPr userDrawn="1"/>
        </p:nvSpPr>
        <p:spPr>
          <a:xfrm>
            <a:off x="222251" y="5434365"/>
            <a:ext cx="5780328" cy="5652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000" dirty="0">
                <a:solidFill>
                  <a:schemeClr val="bg1"/>
                </a:solidFill>
                <a:latin typeface="Tw Cen MT" panose="020B0602020104020603" pitchFamily="34" charset="0"/>
              </a:rPr>
              <a:t>RAHASIA DAN HAK MILIK (CONFIDENTIAL AND PROPRIETARY)</a:t>
            </a:r>
          </a:p>
          <a:p>
            <a:pPr algn="r"/>
            <a:r>
              <a:rPr lang="en-US" sz="1000" dirty="0" err="1">
                <a:solidFill>
                  <a:schemeClr val="bg1"/>
                </a:solidFill>
                <a:latin typeface="Tw Cen MT" panose="020B0602020104020603" pitchFamily="34" charset="0"/>
              </a:rPr>
              <a:t>Dilarang</a:t>
            </a:r>
            <a:r>
              <a:rPr lang="en-US" sz="1000" dirty="0">
                <a:solidFill>
                  <a:schemeClr val="bg1"/>
                </a:solidFill>
                <a:latin typeface="Tw Cen MT" panose="020B0602020104020603" pitchFamily="34" charset="0"/>
              </a:rPr>
              <a:t> </a:t>
            </a:r>
            <a:r>
              <a:rPr lang="en-US" sz="1000" dirty="0" err="1">
                <a:solidFill>
                  <a:schemeClr val="bg1"/>
                </a:solidFill>
                <a:latin typeface="Tw Cen MT" panose="020B0602020104020603" pitchFamily="34" charset="0"/>
              </a:rPr>
              <a:t>menggunakan</a:t>
            </a:r>
            <a:r>
              <a:rPr lang="en-US" sz="1000" dirty="0">
                <a:solidFill>
                  <a:schemeClr val="bg1"/>
                </a:solidFill>
                <a:latin typeface="Tw Cen MT" panose="020B0602020104020603" pitchFamily="34" charset="0"/>
              </a:rPr>
              <a:t> material </a:t>
            </a:r>
            <a:r>
              <a:rPr lang="en-US" sz="1000" dirty="0" err="1">
                <a:solidFill>
                  <a:schemeClr val="bg1"/>
                </a:solidFill>
                <a:latin typeface="Tw Cen MT" panose="020B0602020104020603" pitchFamily="34" charset="0"/>
              </a:rPr>
              <a:t>ini</a:t>
            </a:r>
            <a:r>
              <a:rPr lang="en-US" sz="1000" dirty="0">
                <a:solidFill>
                  <a:schemeClr val="bg1"/>
                </a:solidFill>
                <a:latin typeface="Tw Cen MT" panose="020B0602020104020603" pitchFamily="34" charset="0"/>
              </a:rPr>
              <a:t> </a:t>
            </a:r>
            <a:r>
              <a:rPr lang="en-US" sz="1000" dirty="0" err="1">
                <a:solidFill>
                  <a:schemeClr val="bg1"/>
                </a:solidFill>
                <a:latin typeface="Tw Cen MT" panose="020B0602020104020603" pitchFamily="34" charset="0"/>
              </a:rPr>
              <a:t>untuk</a:t>
            </a:r>
            <a:r>
              <a:rPr lang="en-US" sz="1000" dirty="0">
                <a:solidFill>
                  <a:schemeClr val="bg1"/>
                </a:solidFill>
                <a:latin typeface="Tw Cen MT" panose="020B0602020104020603" pitchFamily="34" charset="0"/>
              </a:rPr>
              <a:t> </a:t>
            </a:r>
            <a:r>
              <a:rPr lang="en-US" sz="1000" dirty="0" err="1">
                <a:solidFill>
                  <a:schemeClr val="bg1"/>
                </a:solidFill>
                <a:latin typeface="Tw Cen MT" panose="020B0602020104020603" pitchFamily="34" charset="0"/>
              </a:rPr>
              <a:t>keperluan</a:t>
            </a:r>
            <a:r>
              <a:rPr lang="en-US" sz="1000" dirty="0">
                <a:solidFill>
                  <a:schemeClr val="bg1"/>
                </a:solidFill>
                <a:latin typeface="Tw Cen MT" panose="020B0602020104020603" pitchFamily="34" charset="0"/>
              </a:rPr>
              <a:t> </a:t>
            </a:r>
            <a:r>
              <a:rPr lang="en-US" sz="1000" dirty="0" err="1">
                <a:solidFill>
                  <a:schemeClr val="bg1"/>
                </a:solidFill>
                <a:latin typeface="Tw Cen MT" panose="020B0602020104020603" pitchFamily="34" charset="0"/>
              </a:rPr>
              <a:t>apapun</a:t>
            </a:r>
            <a:r>
              <a:rPr lang="en-US" sz="1000" dirty="0">
                <a:solidFill>
                  <a:schemeClr val="bg1"/>
                </a:solidFill>
                <a:latin typeface="Tw Cen MT" panose="020B0602020104020603" pitchFamily="34" charset="0"/>
              </a:rPr>
              <a:t> </a:t>
            </a:r>
            <a:r>
              <a:rPr lang="en-US" sz="1000" dirty="0" err="1">
                <a:solidFill>
                  <a:schemeClr val="bg1"/>
                </a:solidFill>
                <a:latin typeface="Tw Cen MT" panose="020B0602020104020603" pitchFamily="34" charset="0"/>
              </a:rPr>
              <a:t>tanpa</a:t>
            </a:r>
            <a:r>
              <a:rPr lang="en-US" sz="1000" dirty="0">
                <a:solidFill>
                  <a:schemeClr val="bg1"/>
                </a:solidFill>
                <a:latin typeface="Tw Cen MT" panose="020B0602020104020603" pitchFamily="34" charset="0"/>
              </a:rPr>
              <a:t> </a:t>
            </a:r>
            <a:r>
              <a:rPr lang="en-US" sz="1000" dirty="0" err="1">
                <a:solidFill>
                  <a:schemeClr val="bg1"/>
                </a:solidFill>
                <a:latin typeface="Tw Cen MT" panose="020B0602020104020603" pitchFamily="34" charset="0"/>
              </a:rPr>
              <a:t>ijin</a:t>
            </a:r>
            <a:r>
              <a:rPr lang="en-US" sz="1000" dirty="0">
                <a:solidFill>
                  <a:schemeClr val="bg1"/>
                </a:solidFill>
                <a:latin typeface="Tw Cen MT" panose="020B0602020104020603" pitchFamily="34" charset="0"/>
              </a:rPr>
              <a:t> </a:t>
            </a:r>
            <a:r>
              <a:rPr lang="en-US" sz="1000" dirty="0" err="1">
                <a:solidFill>
                  <a:schemeClr val="bg1"/>
                </a:solidFill>
                <a:latin typeface="Tw Cen MT" panose="020B0602020104020603" pitchFamily="34" charset="0"/>
              </a:rPr>
              <a:t>dari</a:t>
            </a:r>
            <a:r>
              <a:rPr lang="en-US" sz="1000" dirty="0">
                <a:solidFill>
                  <a:schemeClr val="bg1"/>
                </a:solidFill>
                <a:latin typeface="Tw Cen MT" panose="020B0602020104020603" pitchFamily="34" charset="0"/>
              </a:rPr>
              <a:t> PT KPI</a:t>
            </a:r>
          </a:p>
          <a:p>
            <a:pPr algn="r"/>
            <a:r>
              <a:rPr lang="en-US" sz="1000" dirty="0">
                <a:solidFill>
                  <a:schemeClr val="bg1"/>
                </a:solidFill>
                <a:latin typeface="Tw Cen MT" panose="020B0602020104020603" pitchFamily="34" charset="0"/>
              </a:rPr>
              <a:t>(Any use of this material without specific permission of PT KPI is strictly prohibited)</a:t>
            </a: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FB6E4817-F2AC-43BA-8563-8D4103B074A5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6135546"/>
            <a:ext cx="12192000" cy="722454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BB73B228-EB45-4758-B690-4CEDFABAA90E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6001140"/>
            <a:ext cx="1869141" cy="856861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71A0BBBC-0EB6-4689-A41A-6846C4A19224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11477768" y="6328684"/>
            <a:ext cx="400274" cy="401300"/>
          </a:xfrm>
          <a:prstGeom prst="rect">
            <a:avLst/>
          </a:prstGeom>
        </p:spPr>
      </p:pic>
      <p:sp>
        <p:nvSpPr>
          <p:cNvPr id="40" name="McK Disclaimer">
            <a:extLst>
              <a:ext uri="{FF2B5EF4-FFF2-40B4-BE49-F238E27FC236}">
                <a16:creationId xmlns:a16="http://schemas.microsoft.com/office/drawing/2014/main" id="{30D2003E-B3F4-4110-8FE5-229904B6063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6152191" y="6405180"/>
            <a:ext cx="2844665" cy="1727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/>
          <a:p>
            <a:pPr defTabSz="960055" eaLnBrk="0" hangingPunct="0">
              <a:defRPr/>
            </a:pPr>
            <a:r>
              <a:rPr lang="en-US" altLang="ko-KR" sz="11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Tw Cen MT" panose="020B0602020104020603" pitchFamily="34" charset="0"/>
                <a:ea typeface="Gulim" pitchFamily="34" charset="-127"/>
              </a:rPr>
              <a:t>@</a:t>
            </a:r>
            <a:r>
              <a:rPr lang="en-US" altLang="ko-KR" sz="11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Tw Cen MT" panose="020B0602020104020603" pitchFamily="34" charset="0"/>
                <a:ea typeface="Gulim" pitchFamily="34" charset="-127"/>
              </a:rPr>
              <a:t>kilangpertaminainternasional</a:t>
            </a:r>
            <a:endParaRPr lang="en-US" altLang="ko-KR" sz="1100" b="1" dirty="0">
              <a:solidFill>
                <a:schemeClr val="tx1">
                  <a:lumMod val="75000"/>
                  <a:lumOff val="25000"/>
                </a:schemeClr>
              </a:solidFill>
              <a:latin typeface="Tw Cen MT" panose="020B0602020104020603" pitchFamily="34" charset="0"/>
              <a:ea typeface="Gulim" pitchFamily="34" charset="-127"/>
            </a:endParaRPr>
          </a:p>
        </p:txBody>
      </p:sp>
      <p:pic>
        <p:nvPicPr>
          <p:cNvPr id="41" name="Picture 40">
            <a:extLst>
              <a:ext uri="{FF2B5EF4-FFF2-40B4-BE49-F238E27FC236}">
                <a16:creationId xmlns:a16="http://schemas.microsoft.com/office/drawing/2014/main" id="{0F13B110-0F97-4C3C-B787-3B376B375B3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saturation sat="0"/>
                    </a14:imgEffect>
                  </a14:imgLayer>
                </a14:imgProps>
              </a:ext>
            </a:extLst>
          </a:blip>
          <a:srcRect r="81014"/>
          <a:stretch/>
        </p:blipFill>
        <p:spPr>
          <a:xfrm>
            <a:off x="5017063" y="6372721"/>
            <a:ext cx="549109" cy="237630"/>
          </a:xfrm>
          <a:prstGeom prst="rect">
            <a:avLst/>
          </a:prstGeom>
        </p:spPr>
      </p:pic>
      <p:pic>
        <p:nvPicPr>
          <p:cNvPr id="33" name="Graphic 32">
            <a:extLst>
              <a:ext uri="{FF2B5EF4-FFF2-40B4-BE49-F238E27FC236}">
                <a16:creationId xmlns:a16="http://schemas.microsoft.com/office/drawing/2014/main" id="{8DA86117-AE3D-4A52-9832-4FA00864EDD7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303031" y="256131"/>
            <a:ext cx="1421855" cy="276737"/>
          </a:xfrm>
          <a:prstGeom prst="rect">
            <a:avLst/>
          </a:prstGeom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id="{B38951B0-F424-4A03-8457-90BAC1714CC1}"/>
              </a:ext>
            </a:extLst>
          </p:cNvPr>
          <p:cNvPicPr>
            <a:picLocks noChangeAspect="1"/>
          </p:cNvPicPr>
          <p:nvPr userDrawn="1"/>
        </p:nvPicPr>
        <p:blipFill>
          <a:blip r:embed="rId18">
            <a:grayscl/>
          </a:blip>
          <a:stretch>
            <a:fillRect/>
          </a:stretch>
        </p:blipFill>
        <p:spPr>
          <a:xfrm>
            <a:off x="5816932" y="6372720"/>
            <a:ext cx="237600" cy="237600"/>
          </a:xfrm>
          <a:prstGeom prst="rect">
            <a:avLst/>
          </a:prstGeom>
        </p:spPr>
      </p:pic>
      <p:grpSp>
        <p:nvGrpSpPr>
          <p:cNvPr id="47" name="Graphic 45">
            <a:extLst>
              <a:ext uri="{FF2B5EF4-FFF2-40B4-BE49-F238E27FC236}">
                <a16:creationId xmlns:a16="http://schemas.microsoft.com/office/drawing/2014/main" id="{0AE4EC0C-B6E6-4B56-94FF-87915A3131CF}"/>
              </a:ext>
            </a:extLst>
          </p:cNvPr>
          <p:cNvGrpSpPr/>
          <p:nvPr/>
        </p:nvGrpSpPr>
        <p:grpSpPr>
          <a:xfrm>
            <a:off x="5551734" y="6372720"/>
            <a:ext cx="237600" cy="237600"/>
            <a:chOff x="3657600" y="990600"/>
            <a:chExt cx="4876800" cy="4876800"/>
          </a:xfrm>
        </p:grpSpPr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F9AD5CE5-468B-425F-B43E-6E6C55992A93}"/>
                </a:ext>
              </a:extLst>
            </p:cNvPr>
            <p:cNvSpPr/>
            <p:nvPr/>
          </p:nvSpPr>
          <p:spPr>
            <a:xfrm>
              <a:off x="3657600" y="990600"/>
              <a:ext cx="4876800" cy="4876800"/>
            </a:xfrm>
            <a:custGeom>
              <a:avLst/>
              <a:gdLst>
                <a:gd name="connsiteX0" fmla="*/ 4876800 w 4876800"/>
                <a:gd name="connsiteY0" fmla="*/ 2438400 h 4876800"/>
                <a:gd name="connsiteX1" fmla="*/ 2438400 w 4876800"/>
                <a:gd name="connsiteY1" fmla="*/ 4876800 h 4876800"/>
                <a:gd name="connsiteX2" fmla="*/ 0 w 4876800"/>
                <a:gd name="connsiteY2" fmla="*/ 2438400 h 4876800"/>
                <a:gd name="connsiteX3" fmla="*/ 2438400 w 4876800"/>
                <a:gd name="connsiteY3" fmla="*/ 0 h 4876800"/>
                <a:gd name="connsiteX4" fmla="*/ 4876800 w 4876800"/>
                <a:gd name="connsiteY4" fmla="*/ 2438400 h 4876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76800" h="4876800">
                  <a:moveTo>
                    <a:pt x="4876800" y="2438400"/>
                  </a:moveTo>
                  <a:cubicBezTo>
                    <a:pt x="4876800" y="3785091"/>
                    <a:pt x="3785091" y="4876800"/>
                    <a:pt x="2438400" y="4876800"/>
                  </a:cubicBezTo>
                  <a:cubicBezTo>
                    <a:pt x="1091709" y="4876800"/>
                    <a:pt x="0" y="3785091"/>
                    <a:pt x="0" y="2438400"/>
                  </a:cubicBezTo>
                  <a:cubicBezTo>
                    <a:pt x="0" y="1091709"/>
                    <a:pt x="1091709" y="0"/>
                    <a:pt x="2438400" y="0"/>
                  </a:cubicBezTo>
                  <a:cubicBezTo>
                    <a:pt x="3785091" y="0"/>
                    <a:pt x="4876800" y="1091709"/>
                    <a:pt x="4876800" y="2438400"/>
                  </a:cubicBezTo>
                  <a:close/>
                </a:path>
              </a:pathLst>
            </a:custGeom>
            <a:solidFill>
              <a:srgbClr val="6A6A6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D" sz="1600"/>
            </a:p>
          </p:txBody>
        </p:sp>
        <p:grpSp>
          <p:nvGrpSpPr>
            <p:cNvPr id="50" name="Graphic 45">
              <a:extLst>
                <a:ext uri="{FF2B5EF4-FFF2-40B4-BE49-F238E27FC236}">
                  <a16:creationId xmlns:a16="http://schemas.microsoft.com/office/drawing/2014/main" id="{0AE4EC0C-B6E6-4B56-94FF-87915A3131CF}"/>
                </a:ext>
              </a:extLst>
            </p:cNvPr>
            <p:cNvGrpSpPr/>
            <p:nvPr/>
          </p:nvGrpSpPr>
          <p:grpSpPr>
            <a:xfrm>
              <a:off x="4532242" y="1865242"/>
              <a:ext cx="3127533" cy="3127533"/>
              <a:chOff x="4532242" y="1865242"/>
              <a:chExt cx="3127533" cy="3127533"/>
            </a:xfrm>
            <a:solidFill>
              <a:srgbClr val="FFFFFF"/>
            </a:solidFill>
          </p:grpSpPr>
          <p:sp>
            <p:nvSpPr>
              <p:cNvPr id="51" name="Freeform: Shape 50">
                <a:extLst>
                  <a:ext uri="{FF2B5EF4-FFF2-40B4-BE49-F238E27FC236}">
                    <a16:creationId xmlns:a16="http://schemas.microsoft.com/office/drawing/2014/main" id="{85A99EC9-4FD0-4B50-B0D4-84FE7ED278F7}"/>
                  </a:ext>
                </a:extLst>
              </p:cNvPr>
              <p:cNvSpPr/>
              <p:nvPr/>
            </p:nvSpPr>
            <p:spPr>
              <a:xfrm>
                <a:off x="4532242" y="1865242"/>
                <a:ext cx="3127533" cy="3127533"/>
              </a:xfrm>
              <a:custGeom>
                <a:avLst/>
                <a:gdLst>
                  <a:gd name="connsiteX0" fmla="*/ 2467108 w 3127533"/>
                  <a:gd name="connsiteY0" fmla="*/ 0 h 3127533"/>
                  <a:gd name="connsiteX1" fmla="*/ 660406 w 3127533"/>
                  <a:gd name="connsiteY1" fmla="*/ 0 h 3127533"/>
                  <a:gd name="connsiteX2" fmla="*/ 0 w 3127533"/>
                  <a:gd name="connsiteY2" fmla="*/ 660406 h 3127533"/>
                  <a:gd name="connsiteX3" fmla="*/ 0 w 3127533"/>
                  <a:gd name="connsiteY3" fmla="*/ 2467128 h 3127533"/>
                  <a:gd name="connsiteX4" fmla="*/ 660406 w 3127533"/>
                  <a:gd name="connsiteY4" fmla="*/ 3127534 h 3127533"/>
                  <a:gd name="connsiteX5" fmla="*/ 2467128 w 3127533"/>
                  <a:gd name="connsiteY5" fmla="*/ 3127534 h 3127533"/>
                  <a:gd name="connsiteX6" fmla="*/ 3127534 w 3127533"/>
                  <a:gd name="connsiteY6" fmla="*/ 2467128 h 3127533"/>
                  <a:gd name="connsiteX7" fmla="*/ 3127534 w 3127533"/>
                  <a:gd name="connsiteY7" fmla="*/ 660406 h 3127533"/>
                  <a:gd name="connsiteX8" fmla="*/ 2467108 w 3127533"/>
                  <a:gd name="connsiteY8" fmla="*/ 0 h 3127533"/>
                  <a:gd name="connsiteX9" fmla="*/ 2968485 w 3127533"/>
                  <a:gd name="connsiteY9" fmla="*/ 2467108 h 3127533"/>
                  <a:gd name="connsiteX10" fmla="*/ 2467108 w 3127533"/>
                  <a:gd name="connsiteY10" fmla="*/ 2968485 h 3127533"/>
                  <a:gd name="connsiteX11" fmla="*/ 660406 w 3127533"/>
                  <a:gd name="connsiteY11" fmla="*/ 2968485 h 3127533"/>
                  <a:gd name="connsiteX12" fmla="*/ 159029 w 3127533"/>
                  <a:gd name="connsiteY12" fmla="*/ 2467108 h 3127533"/>
                  <a:gd name="connsiteX13" fmla="*/ 159029 w 3127533"/>
                  <a:gd name="connsiteY13" fmla="*/ 660406 h 3127533"/>
                  <a:gd name="connsiteX14" fmla="*/ 660406 w 3127533"/>
                  <a:gd name="connsiteY14" fmla="*/ 159029 h 3127533"/>
                  <a:gd name="connsiteX15" fmla="*/ 2467128 w 3127533"/>
                  <a:gd name="connsiteY15" fmla="*/ 159029 h 3127533"/>
                  <a:gd name="connsiteX16" fmla="*/ 2968505 w 3127533"/>
                  <a:gd name="connsiteY16" fmla="*/ 660406 h 3127533"/>
                  <a:gd name="connsiteX17" fmla="*/ 2968505 w 3127533"/>
                  <a:gd name="connsiteY17" fmla="*/ 2467108 h 3127533"/>
                  <a:gd name="connsiteX18" fmla="*/ 2968485 w 3127533"/>
                  <a:gd name="connsiteY18" fmla="*/ 2467108 h 31275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127533" h="3127533">
                    <a:moveTo>
                      <a:pt x="2467108" y="0"/>
                    </a:moveTo>
                    <a:lnTo>
                      <a:pt x="660406" y="0"/>
                    </a:lnTo>
                    <a:cubicBezTo>
                      <a:pt x="296256" y="0"/>
                      <a:pt x="0" y="296256"/>
                      <a:pt x="0" y="660406"/>
                    </a:cubicBezTo>
                    <a:lnTo>
                      <a:pt x="0" y="2467128"/>
                    </a:lnTo>
                    <a:cubicBezTo>
                      <a:pt x="0" y="2831278"/>
                      <a:pt x="296256" y="3127534"/>
                      <a:pt x="660406" y="3127534"/>
                    </a:cubicBezTo>
                    <a:lnTo>
                      <a:pt x="2467128" y="3127534"/>
                    </a:lnTo>
                    <a:cubicBezTo>
                      <a:pt x="2831278" y="3127534"/>
                      <a:pt x="3127534" y="2831278"/>
                      <a:pt x="3127534" y="2467128"/>
                    </a:cubicBezTo>
                    <a:lnTo>
                      <a:pt x="3127534" y="660406"/>
                    </a:lnTo>
                    <a:cubicBezTo>
                      <a:pt x="3127515" y="296256"/>
                      <a:pt x="2831259" y="0"/>
                      <a:pt x="2467108" y="0"/>
                    </a:cubicBezTo>
                    <a:close/>
                    <a:moveTo>
                      <a:pt x="2968485" y="2467108"/>
                    </a:moveTo>
                    <a:cubicBezTo>
                      <a:pt x="2968485" y="2743572"/>
                      <a:pt x="2743572" y="2968485"/>
                      <a:pt x="2467108" y="2968485"/>
                    </a:cubicBezTo>
                    <a:lnTo>
                      <a:pt x="660406" y="2968485"/>
                    </a:lnTo>
                    <a:cubicBezTo>
                      <a:pt x="383943" y="2968485"/>
                      <a:pt x="159029" y="2743572"/>
                      <a:pt x="159029" y="2467108"/>
                    </a:cubicBezTo>
                    <a:lnTo>
                      <a:pt x="159029" y="660406"/>
                    </a:lnTo>
                    <a:cubicBezTo>
                      <a:pt x="159029" y="383943"/>
                      <a:pt x="383943" y="159029"/>
                      <a:pt x="660406" y="159029"/>
                    </a:cubicBezTo>
                    <a:lnTo>
                      <a:pt x="2467128" y="159029"/>
                    </a:lnTo>
                    <a:cubicBezTo>
                      <a:pt x="2743591" y="159029"/>
                      <a:pt x="2968505" y="383943"/>
                      <a:pt x="2968505" y="660406"/>
                    </a:cubicBezTo>
                    <a:lnTo>
                      <a:pt x="2968505" y="2467108"/>
                    </a:lnTo>
                    <a:lnTo>
                      <a:pt x="2968485" y="2467108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D" sz="1600"/>
              </a:p>
            </p:txBody>
          </p:sp>
          <p:sp>
            <p:nvSpPr>
              <p:cNvPr id="52" name="Freeform: Shape 51">
                <a:extLst>
                  <a:ext uri="{FF2B5EF4-FFF2-40B4-BE49-F238E27FC236}">
                    <a16:creationId xmlns:a16="http://schemas.microsoft.com/office/drawing/2014/main" id="{C1525641-1BD1-4E66-BB71-97AF263AE760}"/>
                  </a:ext>
                </a:extLst>
              </p:cNvPr>
              <p:cNvSpPr/>
              <p:nvPr/>
            </p:nvSpPr>
            <p:spPr>
              <a:xfrm>
                <a:off x="5274363" y="2607363"/>
                <a:ext cx="1643271" cy="1643271"/>
              </a:xfrm>
              <a:custGeom>
                <a:avLst/>
                <a:gdLst>
                  <a:gd name="connsiteX0" fmla="*/ 821636 w 1643271"/>
                  <a:gd name="connsiteY0" fmla="*/ 0 h 1643271"/>
                  <a:gd name="connsiteX1" fmla="*/ 0 w 1643271"/>
                  <a:gd name="connsiteY1" fmla="*/ 821636 h 1643271"/>
                  <a:gd name="connsiteX2" fmla="*/ 821636 w 1643271"/>
                  <a:gd name="connsiteY2" fmla="*/ 1643272 h 1643271"/>
                  <a:gd name="connsiteX3" fmla="*/ 1643272 w 1643271"/>
                  <a:gd name="connsiteY3" fmla="*/ 821636 h 1643271"/>
                  <a:gd name="connsiteX4" fmla="*/ 821636 w 1643271"/>
                  <a:gd name="connsiteY4" fmla="*/ 0 h 1643271"/>
                  <a:gd name="connsiteX5" fmla="*/ 821636 w 1643271"/>
                  <a:gd name="connsiteY5" fmla="*/ 1484243 h 1643271"/>
                  <a:gd name="connsiteX6" fmla="*/ 159029 w 1643271"/>
                  <a:gd name="connsiteY6" fmla="*/ 821636 h 1643271"/>
                  <a:gd name="connsiteX7" fmla="*/ 821636 w 1643271"/>
                  <a:gd name="connsiteY7" fmla="*/ 159029 h 1643271"/>
                  <a:gd name="connsiteX8" fmla="*/ 1484243 w 1643271"/>
                  <a:gd name="connsiteY8" fmla="*/ 821636 h 1643271"/>
                  <a:gd name="connsiteX9" fmla="*/ 821636 w 1643271"/>
                  <a:gd name="connsiteY9" fmla="*/ 1484243 h 16432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43271" h="1643271">
                    <a:moveTo>
                      <a:pt x="821636" y="0"/>
                    </a:moveTo>
                    <a:cubicBezTo>
                      <a:pt x="368579" y="0"/>
                      <a:pt x="0" y="368579"/>
                      <a:pt x="0" y="821636"/>
                    </a:cubicBezTo>
                    <a:cubicBezTo>
                      <a:pt x="0" y="1274693"/>
                      <a:pt x="368579" y="1643272"/>
                      <a:pt x="821636" y="1643272"/>
                    </a:cubicBezTo>
                    <a:cubicBezTo>
                      <a:pt x="1274693" y="1643272"/>
                      <a:pt x="1643272" y="1274693"/>
                      <a:pt x="1643272" y="821636"/>
                    </a:cubicBezTo>
                    <a:cubicBezTo>
                      <a:pt x="1643272" y="368579"/>
                      <a:pt x="1274693" y="0"/>
                      <a:pt x="821636" y="0"/>
                    </a:cubicBezTo>
                    <a:close/>
                    <a:moveTo>
                      <a:pt x="821636" y="1484243"/>
                    </a:moveTo>
                    <a:cubicBezTo>
                      <a:pt x="456276" y="1484243"/>
                      <a:pt x="159029" y="1186986"/>
                      <a:pt x="159029" y="821636"/>
                    </a:cubicBezTo>
                    <a:cubicBezTo>
                      <a:pt x="159029" y="456286"/>
                      <a:pt x="456286" y="159029"/>
                      <a:pt x="821636" y="159029"/>
                    </a:cubicBezTo>
                    <a:cubicBezTo>
                      <a:pt x="1186986" y="159029"/>
                      <a:pt x="1484243" y="456286"/>
                      <a:pt x="1484243" y="821636"/>
                    </a:cubicBezTo>
                    <a:cubicBezTo>
                      <a:pt x="1484243" y="1186986"/>
                      <a:pt x="1186996" y="1484243"/>
                      <a:pt x="821636" y="148424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D" sz="1600"/>
              </a:p>
            </p:txBody>
          </p:sp>
          <p:sp>
            <p:nvSpPr>
              <p:cNvPr id="53" name="Freeform: Shape 52">
                <a:extLst>
                  <a:ext uri="{FF2B5EF4-FFF2-40B4-BE49-F238E27FC236}">
                    <a16:creationId xmlns:a16="http://schemas.microsoft.com/office/drawing/2014/main" id="{8ACE42B8-6B2B-4B4B-94B3-CFF2F814F87E}"/>
                  </a:ext>
                </a:extLst>
              </p:cNvPr>
              <p:cNvSpPr/>
              <p:nvPr/>
            </p:nvSpPr>
            <p:spPr>
              <a:xfrm>
                <a:off x="6732098" y="2262806"/>
                <a:ext cx="424072" cy="424072"/>
              </a:xfrm>
              <a:custGeom>
                <a:avLst/>
                <a:gdLst>
                  <a:gd name="connsiteX0" fmla="*/ 424072 w 424072"/>
                  <a:gd name="connsiteY0" fmla="*/ 212036 h 424072"/>
                  <a:gd name="connsiteX1" fmla="*/ 212036 w 424072"/>
                  <a:gd name="connsiteY1" fmla="*/ 424072 h 424072"/>
                  <a:gd name="connsiteX2" fmla="*/ 0 w 424072"/>
                  <a:gd name="connsiteY2" fmla="*/ 212036 h 424072"/>
                  <a:gd name="connsiteX3" fmla="*/ 212036 w 424072"/>
                  <a:gd name="connsiteY3" fmla="*/ 0 h 424072"/>
                  <a:gd name="connsiteX4" fmla="*/ 424072 w 424072"/>
                  <a:gd name="connsiteY4" fmla="*/ 212036 h 4240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4072" h="424072">
                    <a:moveTo>
                      <a:pt x="424072" y="212036"/>
                    </a:moveTo>
                    <a:cubicBezTo>
                      <a:pt x="424072" y="329140"/>
                      <a:pt x="329140" y="424072"/>
                      <a:pt x="212036" y="424072"/>
                    </a:cubicBezTo>
                    <a:cubicBezTo>
                      <a:pt x="94932" y="424072"/>
                      <a:pt x="0" y="329140"/>
                      <a:pt x="0" y="212036"/>
                    </a:cubicBezTo>
                    <a:cubicBezTo>
                      <a:pt x="0" y="94932"/>
                      <a:pt x="94932" y="0"/>
                      <a:pt x="212036" y="0"/>
                    </a:cubicBezTo>
                    <a:cubicBezTo>
                      <a:pt x="329140" y="0"/>
                      <a:pt x="424072" y="94932"/>
                      <a:pt x="424072" y="212036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D" sz="16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1482222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0/23/2025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60818283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ADD2C1B-5BCF-406A-A940-C8D7BC075C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ADD2C1B-5BCF-406A-A940-C8D7BC075C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4C769A2C-43A3-4DC4-AD5C-6D84DA95F7F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Tw Cen MT" panose="020B0602020104020603" pitchFamily="34" charset="0"/>
              <a:ea typeface="+mj-ea"/>
              <a:cs typeface="+mj-cs"/>
              <a:sym typeface="Tw Cen MT" panose="020B06020201040206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E143079-A95B-4A64-9443-C957FE2CCD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9E3A7CC-C9D1-4D1E-BAA1-5F1C0AFCE1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B3395B-9734-44D8-AD4F-D8CFC77A7B20}" type="datetime1">
              <a:rPr lang="en-US" smtClean="0"/>
              <a:t>10/23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19FAE53-0CBE-4C42-938A-E47CE742C4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r Internal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1BD3258-BDD1-4918-BF8D-253510A210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ED9603-CE29-4DF5-A47E-D2F9D9769DA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292314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1542" y="2937934"/>
            <a:ext cx="5181600" cy="908050"/>
          </a:xfrm>
        </p:spPr>
        <p:txBody>
          <a:bodyPr anchor="t"/>
          <a:lstStyle>
            <a:lvl1pPr algn="l">
              <a:defRPr sz="2667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1542" y="1937809"/>
            <a:ext cx="5181600" cy="1000125"/>
          </a:xfrm>
        </p:spPr>
        <p:txBody>
          <a:bodyPr anchor="b"/>
          <a:lstStyle>
            <a:lvl1pPr marL="0" indent="0">
              <a:buNone/>
              <a:defRPr sz="1333">
                <a:solidFill>
                  <a:schemeClr val="tx1">
                    <a:tint val="75000"/>
                  </a:schemeClr>
                </a:solidFill>
              </a:defRPr>
            </a:lvl1pPr>
            <a:lvl2pPr marL="30481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2pPr>
            <a:lvl3pPr marL="609630" indent="0">
              <a:buNone/>
              <a:defRPr sz="1067">
                <a:solidFill>
                  <a:schemeClr val="tx1">
                    <a:tint val="75000"/>
                  </a:schemeClr>
                </a:solidFill>
              </a:defRPr>
            </a:lvl3pPr>
            <a:lvl4pPr marL="914446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4pPr>
            <a:lvl5pPr marL="1219261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5pPr>
            <a:lvl6pPr marL="1524076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6pPr>
            <a:lvl7pPr marL="1828891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7pPr>
            <a:lvl8pPr marL="2133707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8pPr>
            <a:lvl9pPr marL="2438522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0/23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1233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4800" y="1066800"/>
            <a:ext cx="2692400" cy="3017309"/>
          </a:xfrm>
        </p:spPr>
        <p:txBody>
          <a:bodyPr/>
          <a:lstStyle>
            <a:lvl1pPr>
              <a:defRPr sz="1867"/>
            </a:lvl1pPr>
            <a:lvl2pPr>
              <a:defRPr sz="1600"/>
            </a:lvl2pPr>
            <a:lvl3pPr>
              <a:defRPr sz="1333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098800" y="1066800"/>
            <a:ext cx="2692400" cy="3017309"/>
          </a:xfrm>
        </p:spPr>
        <p:txBody>
          <a:bodyPr/>
          <a:lstStyle>
            <a:lvl1pPr>
              <a:defRPr sz="1867"/>
            </a:lvl1pPr>
            <a:lvl2pPr>
              <a:defRPr sz="1600"/>
            </a:lvl2pPr>
            <a:lvl3pPr>
              <a:defRPr sz="1333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0/23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177315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800" y="1023409"/>
            <a:ext cx="2693459" cy="426508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304815" indent="0">
              <a:buNone/>
              <a:defRPr sz="1333" b="1"/>
            </a:lvl2pPr>
            <a:lvl3pPr marL="609630" indent="0">
              <a:buNone/>
              <a:defRPr sz="1200" b="1"/>
            </a:lvl3pPr>
            <a:lvl4pPr marL="914446" indent="0">
              <a:buNone/>
              <a:defRPr sz="1067" b="1"/>
            </a:lvl4pPr>
            <a:lvl5pPr marL="1219261" indent="0">
              <a:buNone/>
              <a:defRPr sz="1067" b="1"/>
            </a:lvl5pPr>
            <a:lvl6pPr marL="1524076" indent="0">
              <a:buNone/>
              <a:defRPr sz="1067" b="1"/>
            </a:lvl6pPr>
            <a:lvl7pPr marL="1828891" indent="0">
              <a:buNone/>
              <a:defRPr sz="1067" b="1"/>
            </a:lvl7pPr>
            <a:lvl8pPr marL="2133707" indent="0">
              <a:buNone/>
              <a:defRPr sz="1067" b="1"/>
            </a:lvl8pPr>
            <a:lvl9pPr marL="2438522" indent="0">
              <a:buNone/>
              <a:defRPr sz="106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04800" y="1449917"/>
            <a:ext cx="2693459" cy="2634192"/>
          </a:xfrm>
        </p:spPr>
        <p:txBody>
          <a:bodyPr/>
          <a:lstStyle>
            <a:lvl1pPr>
              <a:defRPr sz="1600"/>
            </a:lvl1pPr>
            <a:lvl2pPr>
              <a:defRPr sz="1333"/>
            </a:lvl2pPr>
            <a:lvl3pPr>
              <a:defRPr sz="1200"/>
            </a:lvl3pPr>
            <a:lvl4pPr>
              <a:defRPr sz="1067"/>
            </a:lvl4pPr>
            <a:lvl5pPr>
              <a:defRPr sz="1067"/>
            </a:lvl5pPr>
            <a:lvl6pPr>
              <a:defRPr sz="1067"/>
            </a:lvl6pPr>
            <a:lvl7pPr>
              <a:defRPr sz="1067"/>
            </a:lvl7pPr>
            <a:lvl8pPr>
              <a:defRPr sz="1067"/>
            </a:lvl8pPr>
            <a:lvl9pPr>
              <a:defRPr sz="10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096684" y="1023409"/>
            <a:ext cx="2694517" cy="426508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304815" indent="0">
              <a:buNone/>
              <a:defRPr sz="1333" b="1"/>
            </a:lvl2pPr>
            <a:lvl3pPr marL="609630" indent="0">
              <a:buNone/>
              <a:defRPr sz="1200" b="1"/>
            </a:lvl3pPr>
            <a:lvl4pPr marL="914446" indent="0">
              <a:buNone/>
              <a:defRPr sz="1067" b="1"/>
            </a:lvl4pPr>
            <a:lvl5pPr marL="1219261" indent="0">
              <a:buNone/>
              <a:defRPr sz="1067" b="1"/>
            </a:lvl5pPr>
            <a:lvl6pPr marL="1524076" indent="0">
              <a:buNone/>
              <a:defRPr sz="1067" b="1"/>
            </a:lvl6pPr>
            <a:lvl7pPr marL="1828891" indent="0">
              <a:buNone/>
              <a:defRPr sz="1067" b="1"/>
            </a:lvl7pPr>
            <a:lvl8pPr marL="2133707" indent="0">
              <a:buNone/>
              <a:defRPr sz="1067" b="1"/>
            </a:lvl8pPr>
            <a:lvl9pPr marL="2438522" indent="0">
              <a:buNone/>
              <a:defRPr sz="106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096684" y="1449917"/>
            <a:ext cx="2694517" cy="2634192"/>
          </a:xfrm>
        </p:spPr>
        <p:txBody>
          <a:bodyPr/>
          <a:lstStyle>
            <a:lvl1pPr>
              <a:defRPr sz="1600"/>
            </a:lvl1pPr>
            <a:lvl2pPr>
              <a:defRPr sz="1333"/>
            </a:lvl2pPr>
            <a:lvl3pPr>
              <a:defRPr sz="1200"/>
            </a:lvl3pPr>
            <a:lvl4pPr>
              <a:defRPr sz="1067"/>
            </a:lvl4pPr>
            <a:lvl5pPr>
              <a:defRPr sz="1067"/>
            </a:lvl5pPr>
            <a:lvl6pPr>
              <a:defRPr sz="1067"/>
            </a:lvl6pPr>
            <a:lvl7pPr>
              <a:defRPr sz="1067"/>
            </a:lvl7pPr>
            <a:lvl8pPr>
              <a:defRPr sz="1067"/>
            </a:lvl8pPr>
            <a:lvl9pPr>
              <a:defRPr sz="10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0/23/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70826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0/23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34681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0/23/20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938173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82033"/>
            <a:ext cx="2005542" cy="774700"/>
          </a:xfrm>
        </p:spPr>
        <p:txBody>
          <a:bodyPr anchor="b"/>
          <a:lstStyle>
            <a:lvl1pPr algn="l">
              <a:defRPr sz="1333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383367" y="182034"/>
            <a:ext cx="3407833" cy="3902075"/>
          </a:xfr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333"/>
            </a:lvl4pPr>
            <a:lvl5pPr>
              <a:defRPr sz="1333"/>
            </a:lvl5pPr>
            <a:lvl6pPr>
              <a:defRPr sz="1333"/>
            </a:lvl6pPr>
            <a:lvl7pPr>
              <a:defRPr sz="1333"/>
            </a:lvl7pPr>
            <a:lvl8pPr>
              <a:defRPr sz="1333"/>
            </a:lvl8pPr>
            <a:lvl9pPr>
              <a:defRPr sz="13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04800" y="956734"/>
            <a:ext cx="2005542" cy="3127375"/>
          </a:xfrm>
        </p:spPr>
        <p:txBody>
          <a:bodyPr/>
          <a:lstStyle>
            <a:lvl1pPr marL="0" indent="0">
              <a:buNone/>
              <a:defRPr sz="933"/>
            </a:lvl1pPr>
            <a:lvl2pPr marL="304815" indent="0">
              <a:buNone/>
              <a:defRPr sz="800"/>
            </a:lvl2pPr>
            <a:lvl3pPr marL="609630" indent="0">
              <a:buNone/>
              <a:defRPr sz="667"/>
            </a:lvl3pPr>
            <a:lvl4pPr marL="914446" indent="0">
              <a:buNone/>
              <a:defRPr sz="600"/>
            </a:lvl4pPr>
            <a:lvl5pPr marL="1219261" indent="0">
              <a:buNone/>
              <a:defRPr sz="600"/>
            </a:lvl5pPr>
            <a:lvl6pPr marL="1524076" indent="0">
              <a:buNone/>
              <a:defRPr sz="600"/>
            </a:lvl6pPr>
            <a:lvl7pPr marL="1828891" indent="0">
              <a:buNone/>
              <a:defRPr sz="600"/>
            </a:lvl7pPr>
            <a:lvl8pPr marL="2133707" indent="0">
              <a:buNone/>
              <a:defRPr sz="600"/>
            </a:lvl8pPr>
            <a:lvl9pPr marL="2438522" indent="0">
              <a:buNone/>
              <a:defRPr sz="6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0/23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014058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4859" y="3200400"/>
            <a:ext cx="3657600" cy="377825"/>
          </a:xfrm>
        </p:spPr>
        <p:txBody>
          <a:bodyPr anchor="b"/>
          <a:lstStyle>
            <a:lvl1pPr algn="l">
              <a:defRPr sz="1333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194859" y="408517"/>
            <a:ext cx="3657600" cy="2743200"/>
          </a:xfrm>
        </p:spPr>
        <p:txBody>
          <a:bodyPr/>
          <a:lstStyle>
            <a:lvl1pPr marL="0" indent="0">
              <a:buNone/>
              <a:defRPr sz="2133"/>
            </a:lvl1pPr>
            <a:lvl2pPr marL="304815" indent="0">
              <a:buNone/>
              <a:defRPr sz="1867"/>
            </a:lvl2pPr>
            <a:lvl3pPr marL="609630" indent="0">
              <a:buNone/>
              <a:defRPr sz="1600"/>
            </a:lvl3pPr>
            <a:lvl4pPr marL="914446" indent="0">
              <a:buNone/>
              <a:defRPr sz="1333"/>
            </a:lvl4pPr>
            <a:lvl5pPr marL="1219261" indent="0">
              <a:buNone/>
              <a:defRPr sz="1333"/>
            </a:lvl5pPr>
            <a:lvl6pPr marL="1524076" indent="0">
              <a:buNone/>
              <a:defRPr sz="1333"/>
            </a:lvl6pPr>
            <a:lvl7pPr marL="1828891" indent="0">
              <a:buNone/>
              <a:defRPr sz="1333"/>
            </a:lvl7pPr>
            <a:lvl8pPr marL="2133707" indent="0">
              <a:buNone/>
              <a:defRPr sz="1333"/>
            </a:lvl8pPr>
            <a:lvl9pPr marL="2438522" indent="0">
              <a:buNone/>
              <a:defRPr sz="1333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94859" y="3578225"/>
            <a:ext cx="3657600" cy="536575"/>
          </a:xfrm>
        </p:spPr>
        <p:txBody>
          <a:bodyPr/>
          <a:lstStyle>
            <a:lvl1pPr marL="0" indent="0">
              <a:buNone/>
              <a:defRPr sz="933"/>
            </a:lvl1pPr>
            <a:lvl2pPr marL="304815" indent="0">
              <a:buNone/>
              <a:defRPr sz="800"/>
            </a:lvl2pPr>
            <a:lvl3pPr marL="609630" indent="0">
              <a:buNone/>
              <a:defRPr sz="667"/>
            </a:lvl3pPr>
            <a:lvl4pPr marL="914446" indent="0">
              <a:buNone/>
              <a:defRPr sz="600"/>
            </a:lvl4pPr>
            <a:lvl5pPr marL="1219261" indent="0">
              <a:buNone/>
              <a:defRPr sz="600"/>
            </a:lvl5pPr>
            <a:lvl6pPr marL="1524076" indent="0">
              <a:buNone/>
              <a:defRPr sz="600"/>
            </a:lvl6pPr>
            <a:lvl7pPr marL="1828891" indent="0">
              <a:buNone/>
              <a:defRPr sz="600"/>
            </a:lvl7pPr>
            <a:lvl8pPr marL="2133707" indent="0">
              <a:buNone/>
              <a:defRPr sz="600"/>
            </a:lvl8pPr>
            <a:lvl9pPr marL="2438522" indent="0">
              <a:buNone/>
              <a:defRPr sz="6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0/23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05076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13" Type="http://schemas.openxmlformats.org/officeDocument/2006/relationships/tags" Target="../tags/tag6.xml"/><Relationship Id="rId18" Type="http://schemas.openxmlformats.org/officeDocument/2006/relationships/tags" Target="../tags/tag11.xml"/><Relationship Id="rId26" Type="http://schemas.openxmlformats.org/officeDocument/2006/relationships/oleObject" Target="../embeddings/oleObject2.bin"/><Relationship Id="rId3" Type="http://schemas.openxmlformats.org/officeDocument/2006/relationships/slideLayout" Target="../slideLayouts/slideLayout14.xml"/><Relationship Id="rId21" Type="http://schemas.openxmlformats.org/officeDocument/2006/relationships/tags" Target="../tags/tag14.xml"/><Relationship Id="rId7" Type="http://schemas.openxmlformats.org/officeDocument/2006/relationships/slideLayout" Target="../slideLayouts/slideLayout18.xml"/><Relationship Id="rId12" Type="http://schemas.openxmlformats.org/officeDocument/2006/relationships/tags" Target="../tags/tag5.xml"/><Relationship Id="rId17" Type="http://schemas.openxmlformats.org/officeDocument/2006/relationships/tags" Target="../tags/tag10.xml"/><Relationship Id="rId25" Type="http://schemas.openxmlformats.org/officeDocument/2006/relationships/tags" Target="../tags/tag18.xml"/><Relationship Id="rId2" Type="http://schemas.openxmlformats.org/officeDocument/2006/relationships/slideLayout" Target="../slideLayouts/slideLayout13.xml"/><Relationship Id="rId16" Type="http://schemas.openxmlformats.org/officeDocument/2006/relationships/tags" Target="../tags/tag9.xml"/><Relationship Id="rId20" Type="http://schemas.openxmlformats.org/officeDocument/2006/relationships/tags" Target="../tags/tag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tags" Target="../tags/tag4.xml"/><Relationship Id="rId24" Type="http://schemas.openxmlformats.org/officeDocument/2006/relationships/tags" Target="../tags/tag17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8.xml"/><Relationship Id="rId23" Type="http://schemas.openxmlformats.org/officeDocument/2006/relationships/tags" Target="../tags/tag16.xml"/><Relationship Id="rId10" Type="http://schemas.openxmlformats.org/officeDocument/2006/relationships/tags" Target="../tags/tag3.xml"/><Relationship Id="rId19" Type="http://schemas.openxmlformats.org/officeDocument/2006/relationships/tags" Target="../tags/tag12.xml"/><Relationship Id="rId4" Type="http://schemas.openxmlformats.org/officeDocument/2006/relationships/slideLayout" Target="../slideLayouts/slideLayout15.xml"/><Relationship Id="rId9" Type="http://schemas.openxmlformats.org/officeDocument/2006/relationships/tags" Target="../tags/tag2.xml"/><Relationship Id="rId14" Type="http://schemas.openxmlformats.org/officeDocument/2006/relationships/tags" Target="../tags/tag7.xml"/><Relationship Id="rId22" Type="http://schemas.openxmlformats.org/officeDocument/2006/relationships/tags" Target="../tags/tag15.xml"/><Relationship Id="rId27" Type="http://schemas.openxmlformats.org/officeDocument/2006/relationships/image" Target="../media/image2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tags" Target="../tags/tag40.xml"/><Relationship Id="rId18" Type="http://schemas.openxmlformats.org/officeDocument/2006/relationships/tags" Target="../tags/tag45.xml"/><Relationship Id="rId26" Type="http://schemas.openxmlformats.org/officeDocument/2006/relationships/tags" Target="../tags/tag53.xml"/><Relationship Id="rId3" Type="http://schemas.openxmlformats.org/officeDocument/2006/relationships/slideLayout" Target="../slideLayouts/slideLayout21.xml"/><Relationship Id="rId21" Type="http://schemas.openxmlformats.org/officeDocument/2006/relationships/tags" Target="../tags/tag48.xml"/><Relationship Id="rId7" Type="http://schemas.openxmlformats.org/officeDocument/2006/relationships/slideLayout" Target="../slideLayouts/slideLayout25.xml"/><Relationship Id="rId12" Type="http://schemas.openxmlformats.org/officeDocument/2006/relationships/tags" Target="../tags/tag39.xml"/><Relationship Id="rId17" Type="http://schemas.openxmlformats.org/officeDocument/2006/relationships/tags" Target="../tags/tag44.xml"/><Relationship Id="rId25" Type="http://schemas.openxmlformats.org/officeDocument/2006/relationships/tags" Target="../tags/tag52.xml"/><Relationship Id="rId2" Type="http://schemas.openxmlformats.org/officeDocument/2006/relationships/slideLayout" Target="../slideLayouts/slideLayout20.xml"/><Relationship Id="rId16" Type="http://schemas.openxmlformats.org/officeDocument/2006/relationships/tags" Target="../tags/tag43.xml"/><Relationship Id="rId20" Type="http://schemas.openxmlformats.org/officeDocument/2006/relationships/tags" Target="../tags/tag47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tags" Target="../tags/tag38.xml"/><Relationship Id="rId24" Type="http://schemas.openxmlformats.org/officeDocument/2006/relationships/tags" Target="../tags/tag51.xml"/><Relationship Id="rId5" Type="http://schemas.openxmlformats.org/officeDocument/2006/relationships/slideLayout" Target="../slideLayouts/slideLayout23.xml"/><Relationship Id="rId15" Type="http://schemas.openxmlformats.org/officeDocument/2006/relationships/tags" Target="../tags/tag42.xml"/><Relationship Id="rId23" Type="http://schemas.openxmlformats.org/officeDocument/2006/relationships/tags" Target="../tags/tag50.xml"/><Relationship Id="rId28" Type="http://schemas.openxmlformats.org/officeDocument/2006/relationships/image" Target="../media/image2.emf"/><Relationship Id="rId10" Type="http://schemas.openxmlformats.org/officeDocument/2006/relationships/tags" Target="../tags/tag37.xml"/><Relationship Id="rId19" Type="http://schemas.openxmlformats.org/officeDocument/2006/relationships/tags" Target="../tags/tag46.xml"/><Relationship Id="rId4" Type="http://schemas.openxmlformats.org/officeDocument/2006/relationships/slideLayout" Target="../slideLayouts/slideLayout22.xml"/><Relationship Id="rId9" Type="http://schemas.openxmlformats.org/officeDocument/2006/relationships/theme" Target="../theme/theme3.xml"/><Relationship Id="rId14" Type="http://schemas.openxmlformats.org/officeDocument/2006/relationships/tags" Target="../tags/tag41.xml"/><Relationship Id="rId22" Type="http://schemas.openxmlformats.org/officeDocument/2006/relationships/tags" Target="../tags/tag49.xml"/><Relationship Id="rId27" Type="http://schemas.openxmlformats.org/officeDocument/2006/relationships/oleObject" Target="../embeddings/oleObject2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CCC3AF39-B836-A682-DAEC-BD3C479FEA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510854422"/>
              </p:ext>
            </p:extLst>
          </p:nvPr>
        </p:nvGraphicFramePr>
        <p:xfrm>
          <a:off x="1059" y="1059"/>
          <a:ext cx="1059" cy="10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99" imgH="499" progId="TCLayout.ActiveDocument.1">
                  <p:embed/>
                </p:oleObj>
              </mc:Choice>
              <mc:Fallback>
                <p:oleObj name="think-cell Slide" r:id="rId14" imgW="499" imgH="499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CC3AF39-B836-A682-DAEC-BD3C479FEA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059" y="1059"/>
                        <a:ext cx="1059" cy="10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183092"/>
            <a:ext cx="5486400" cy="76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800" y="1066800"/>
            <a:ext cx="5486400" cy="301730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04800" y="4237567"/>
            <a:ext cx="1422400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10/23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82800" y="4237567"/>
            <a:ext cx="1930400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68800" y="4237567"/>
            <a:ext cx="1422400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43368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ctr" defTabSz="609630" rtl="0" eaLnBrk="1" latinLnBrk="0" hangingPunct="1">
        <a:spcBef>
          <a:spcPct val="0"/>
        </a:spcBef>
        <a:buNone/>
        <a:defRPr sz="2933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11" indent="-228611" algn="l" defTabSz="609630" rtl="0" eaLnBrk="1" latinLnBrk="0" hangingPunct="1">
        <a:spcBef>
          <a:spcPct val="20000"/>
        </a:spcBef>
        <a:buFont typeface="Arial" pitchFamily="34" charset="0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495325" indent="-190510" algn="l" defTabSz="609630" rtl="0" eaLnBrk="1" latinLnBrk="0" hangingPunct="1">
        <a:spcBef>
          <a:spcPct val="20000"/>
        </a:spcBef>
        <a:buFont typeface="Arial" pitchFamily="34" charset="0"/>
        <a:buChar char="–"/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762038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066853" indent="-152408" algn="l" defTabSz="609630" rtl="0" eaLnBrk="1" latinLnBrk="0" hangingPunct="1">
        <a:spcBef>
          <a:spcPct val="20000"/>
        </a:spcBef>
        <a:buFont typeface="Arial" pitchFamily="34" charset="0"/>
        <a:buChar char="–"/>
        <a:defRPr sz="1333" kern="1200">
          <a:solidFill>
            <a:schemeClr val="tx1"/>
          </a:solidFill>
          <a:latin typeface="+mn-lt"/>
          <a:ea typeface="+mn-ea"/>
          <a:cs typeface="+mn-cs"/>
        </a:defRPr>
      </a:lvl4pPr>
      <a:lvl5pPr marL="1371669" indent="-152408" algn="l" defTabSz="609630" rtl="0" eaLnBrk="1" latinLnBrk="0" hangingPunct="1">
        <a:spcBef>
          <a:spcPct val="20000"/>
        </a:spcBef>
        <a:buFont typeface="Arial" pitchFamily="34" charset="0"/>
        <a:buChar char="»"/>
        <a:defRPr sz="1333" kern="1200">
          <a:solidFill>
            <a:schemeClr val="tx1"/>
          </a:solidFill>
          <a:latin typeface="+mn-lt"/>
          <a:ea typeface="+mn-ea"/>
          <a:cs typeface="+mn-cs"/>
        </a:defRPr>
      </a:lvl5pPr>
      <a:lvl6pPr marL="1676484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6pPr>
      <a:lvl7pPr marL="1981299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7pPr>
      <a:lvl8pPr marL="2286114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8pPr>
      <a:lvl9pPr marL="2590930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04815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609630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46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219261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524076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828891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133707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438522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655943433"/>
              </p:ext>
            </p:ext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270" imgH="270" progId="TCLayout.ActiveDocument.1">
                  <p:embed/>
                </p:oleObj>
              </mc:Choice>
              <mc:Fallback>
                <p:oleObj name="think-cell Slide" r:id="rId2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F4F878B-CF02-4A0B-B3CC-44453379628D}"/>
              </a:ext>
            </a:extLst>
          </p:cNvPr>
          <p:cNvSpPr/>
          <p:nvPr userDrawn="1">
            <p:custDataLst>
              <p:tags r:id="rId10"/>
            </p:custDataLst>
          </p:nvPr>
        </p:nvSpPr>
        <p:spPr>
          <a:xfrm>
            <a:off x="0" y="0"/>
            <a:ext cx="215979" cy="161974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84" b="1" i="0" baseline="0" dirty="0" err="1">
              <a:solidFill>
                <a:schemeClr val="tx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auto">
          <a:xfrm>
            <a:off x="161985" y="27540"/>
            <a:ext cx="1192344" cy="299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905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auto">
          <a:xfrm>
            <a:off x="161991" y="542625"/>
            <a:ext cx="11725484" cy="3416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2176">
                <a:solidFill>
                  <a:srgbClr val="808080"/>
                </a:solidFill>
                <a:latin typeface="Arial"/>
              </a:rPr>
              <a:t>Subtitl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auto">
          <a:xfrm>
            <a:off x="3050701" y="1456690"/>
            <a:ext cx="5801188" cy="701350"/>
            <a:chOff x="915" y="597"/>
            <a:chExt cx="2686" cy="433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597"/>
              <a:ext cx="2686" cy="43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2176" b="1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 sz="2176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grpSp>
        <p:nvGrpSpPr>
          <p:cNvPr id="25" name="LegendBoxes" hidden="1"/>
          <p:cNvGrpSpPr>
            <a:grpSpLocks/>
          </p:cNvGrpSpPr>
          <p:nvPr userDrawn="1"/>
        </p:nvGrpSpPr>
        <p:grpSpPr bwMode="auto">
          <a:xfrm>
            <a:off x="10848617" y="282584"/>
            <a:ext cx="1062616" cy="1085231"/>
            <a:chOff x="4936" y="176"/>
            <a:chExt cx="492" cy="670"/>
          </a:xfrm>
        </p:grpSpPr>
        <p:sp>
          <p:nvSpPr>
            <p:cNvPr id="26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32" cy="1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218">
                <a:buClr>
                  <a:srgbClr val="002960"/>
                </a:buClr>
              </a:pPr>
              <a:r>
                <a:rPr lang="en-US" sz="1632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27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217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8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32" cy="1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218">
                <a:buClr>
                  <a:srgbClr val="002960"/>
                </a:buClr>
              </a:pPr>
              <a:r>
                <a:rPr lang="en-US" sz="1632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29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217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32" cy="1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218">
                <a:buClr>
                  <a:srgbClr val="002960"/>
                </a:buClr>
              </a:pPr>
              <a:r>
                <a:rPr lang="en-US" sz="1632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1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217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2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32" cy="1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218">
                <a:buClr>
                  <a:srgbClr val="002960"/>
                </a:buClr>
              </a:pPr>
              <a:r>
                <a:rPr lang="en-US" sz="1632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3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2176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34" name="LegendLines" hidden="1"/>
          <p:cNvGrpSpPr>
            <a:grpSpLocks/>
          </p:cNvGrpSpPr>
          <p:nvPr userDrawn="1"/>
        </p:nvGrpSpPr>
        <p:grpSpPr bwMode="auto">
          <a:xfrm>
            <a:off x="10429618" y="282584"/>
            <a:ext cx="1481617" cy="813114"/>
            <a:chOff x="4750" y="176"/>
            <a:chExt cx="686" cy="502"/>
          </a:xfrm>
        </p:grpSpPr>
        <p:sp>
          <p:nvSpPr>
            <p:cNvPr id="35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217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6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217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7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217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8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32" cy="1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218">
                <a:buClr>
                  <a:srgbClr val="002960"/>
                </a:buClr>
              </a:pPr>
              <a:r>
                <a:rPr lang="en-US" sz="1632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9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32" cy="1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218">
                <a:buClr>
                  <a:srgbClr val="002960"/>
                </a:buClr>
              </a:pPr>
              <a:r>
                <a:rPr lang="en-US" sz="1632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40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32" cy="1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218">
                <a:buClr>
                  <a:srgbClr val="002960"/>
                </a:buClr>
              </a:pPr>
              <a:r>
                <a:rPr lang="en-US" sz="1632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  <p:grpSp>
        <p:nvGrpSpPr>
          <p:cNvPr id="41" name="Sticker" hidden="1"/>
          <p:cNvGrpSpPr/>
          <p:nvPr userDrawn="1"/>
        </p:nvGrpSpPr>
        <p:grpSpPr bwMode="auto">
          <a:xfrm>
            <a:off x="10417220" y="282581"/>
            <a:ext cx="1470262" cy="284523"/>
            <a:chOff x="7660094" y="285750"/>
            <a:chExt cx="1080681" cy="278859"/>
          </a:xfrm>
        </p:grpSpPr>
        <p:sp>
          <p:nvSpPr>
            <p:cNvPr id="42" name="StickerRectangle"/>
            <p:cNvSpPr>
              <a:spLocks noChangeArrowheads="1"/>
            </p:cNvSpPr>
            <p:nvPr/>
          </p:nvSpPr>
          <p:spPr bwMode="auto">
            <a:xfrm>
              <a:off x="7660094" y="285750"/>
              <a:ext cx="1080681" cy="27885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218218">
                <a:buClr>
                  <a:srgbClr val="002960"/>
                </a:buClr>
              </a:pPr>
              <a:r>
                <a:rPr lang="en-US" sz="1632">
                  <a:solidFill>
                    <a:srgbClr val="808080"/>
                  </a:solidFill>
                  <a:latin typeface="Arial"/>
                </a:rPr>
                <a:t>PRELIMINARY</a:t>
              </a:r>
            </a:p>
          </p:txBody>
        </p:sp>
        <p:cxnSp>
          <p:nvCxnSpPr>
            <p:cNvPr id="43" name="AutoShape 31"/>
            <p:cNvCxnSpPr>
              <a:cxnSpLocks noChangeShapeType="1"/>
              <a:stCxn id="42" idx="2"/>
              <a:endCxn id="42" idx="4"/>
            </p:cNvCxnSpPr>
            <p:nvPr/>
          </p:nvCxnSpPr>
          <p:spPr bwMode="auto">
            <a:xfrm>
              <a:off x="7660094" y="285750"/>
              <a:ext cx="0" cy="278859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4" name="AutoShape 32"/>
            <p:cNvCxnSpPr>
              <a:cxnSpLocks noChangeShapeType="1"/>
              <a:stCxn id="42" idx="4"/>
              <a:endCxn id="42" idx="6"/>
            </p:cNvCxnSpPr>
            <p:nvPr/>
          </p:nvCxnSpPr>
          <p:spPr bwMode="auto">
            <a:xfrm>
              <a:off x="7660094" y="564609"/>
              <a:ext cx="1080681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5" name="LegendMoons" hidden="1"/>
          <p:cNvGrpSpPr/>
          <p:nvPr userDrawn="1"/>
        </p:nvGrpSpPr>
        <p:grpSpPr bwMode="auto">
          <a:xfrm>
            <a:off x="10757672" y="282577"/>
            <a:ext cx="1152664" cy="1388465"/>
            <a:chOff x="7769225" y="2105025"/>
            <a:chExt cx="847238" cy="1360824"/>
          </a:xfrm>
        </p:grpSpPr>
        <p:grpSp>
          <p:nvGrpSpPr>
            <p:cNvPr id="46" name="MoonLegend1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64" name="Oval 38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2176">
                  <a:solidFill>
                    <a:srgbClr val="000000"/>
                  </a:solidFill>
                </a:endParaRPr>
              </a:p>
            </p:txBody>
          </p:sp>
          <p:sp>
            <p:nvSpPr>
              <p:cNvPr id="65" name="Arc 39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2176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7" name="MoonLegend2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62" name="Oval 4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2176">
                  <a:solidFill>
                    <a:srgbClr val="000000"/>
                  </a:solidFill>
                </a:endParaRPr>
              </a:p>
            </p:txBody>
          </p:sp>
          <p:sp>
            <p:nvSpPr>
              <p:cNvPr id="63" name="Arc 42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2176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8" name="MoonLegend4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60" name="Oval 47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2176">
                  <a:solidFill>
                    <a:srgbClr val="000000"/>
                  </a:solidFill>
                </a:endParaRPr>
              </a:p>
            </p:txBody>
          </p:sp>
          <p:sp>
            <p:nvSpPr>
              <p:cNvPr id="61" name="Arc 48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2176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9" name="MoonLegend5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58" name="Oval 50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2176">
                  <a:solidFill>
                    <a:srgbClr val="000000"/>
                  </a:solidFill>
                </a:endParaRPr>
              </a:p>
            </p:txBody>
          </p:sp>
          <p:sp>
            <p:nvSpPr>
              <p:cNvPr id="59" name="Oval 5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2176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0" name="Legend1"/>
            <p:cNvSpPr>
              <a:spLocks noChangeArrowheads="1"/>
            </p:cNvSpPr>
            <p:nvPr/>
          </p:nvSpPr>
          <p:spPr bwMode="auto">
            <a:xfrm>
              <a:off x="8089900" y="2117725"/>
              <a:ext cx="526563" cy="25115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218">
                <a:buClr>
                  <a:srgbClr val="002960"/>
                </a:buClr>
              </a:pPr>
              <a:r>
                <a:rPr lang="en-US" sz="1632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1" name="Legend2"/>
            <p:cNvSpPr>
              <a:spLocks noChangeArrowheads="1"/>
            </p:cNvSpPr>
            <p:nvPr/>
          </p:nvSpPr>
          <p:spPr bwMode="auto">
            <a:xfrm>
              <a:off x="8089900" y="2392363"/>
              <a:ext cx="526563" cy="25115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218">
                <a:buClr>
                  <a:srgbClr val="002960"/>
                </a:buClr>
              </a:pPr>
              <a:r>
                <a:rPr lang="en-US" sz="1632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2" name="Legend3"/>
            <p:cNvSpPr>
              <a:spLocks noChangeArrowheads="1"/>
            </p:cNvSpPr>
            <p:nvPr/>
          </p:nvSpPr>
          <p:spPr bwMode="auto">
            <a:xfrm>
              <a:off x="8089900" y="2667002"/>
              <a:ext cx="526563" cy="25115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218">
                <a:buClr>
                  <a:srgbClr val="002960"/>
                </a:buClr>
              </a:pPr>
              <a:r>
                <a:rPr lang="en-US" sz="1632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3" name="Legend4"/>
            <p:cNvSpPr>
              <a:spLocks noChangeArrowheads="1"/>
            </p:cNvSpPr>
            <p:nvPr/>
          </p:nvSpPr>
          <p:spPr bwMode="auto">
            <a:xfrm>
              <a:off x="8089900" y="2938465"/>
              <a:ext cx="526563" cy="25115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218">
                <a:buClr>
                  <a:srgbClr val="002960"/>
                </a:buClr>
              </a:pPr>
              <a:r>
                <a:rPr lang="en-US" sz="1632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4" name="Legend5"/>
            <p:cNvSpPr>
              <a:spLocks noChangeArrowheads="1"/>
            </p:cNvSpPr>
            <p:nvPr/>
          </p:nvSpPr>
          <p:spPr bwMode="auto">
            <a:xfrm>
              <a:off x="8089900" y="3214690"/>
              <a:ext cx="526563" cy="25115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218">
                <a:buClr>
                  <a:srgbClr val="002960"/>
                </a:buClr>
              </a:pPr>
              <a:r>
                <a:rPr lang="en-US" sz="1632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grpSp>
          <p:nvGrpSpPr>
            <p:cNvPr id="55" name="MoonLegend3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56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2176">
                  <a:solidFill>
                    <a:srgbClr val="000000"/>
                  </a:solidFill>
                </a:endParaRPr>
              </a:p>
            </p:txBody>
          </p:sp>
          <p:sp>
            <p:nvSpPr>
              <p:cNvPr id="57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2176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13" name="4. Footnote" hidden="1"/>
          <p:cNvSpPr txBox="1">
            <a:spLocks noChangeArrowheads="1"/>
          </p:cNvSpPr>
          <p:nvPr userDrawn="1"/>
        </p:nvSpPr>
        <p:spPr bwMode="auto">
          <a:xfrm>
            <a:off x="161985" y="6145589"/>
            <a:ext cx="11630454" cy="2135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360">
                <a:solidFill>
                  <a:srgbClr val="000000"/>
                </a:solidFill>
                <a:latin typeface="Arial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 userDrawn="1"/>
        </p:nvSpPr>
        <p:spPr bwMode="auto">
          <a:xfrm>
            <a:off x="161985" y="6538245"/>
            <a:ext cx="8386454" cy="2135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marL="829425" indent="-829425" defTabSz="1218218">
              <a:tabLst>
                <a:tab pos="833745" algn="l"/>
              </a:tabLst>
            </a:pPr>
            <a:r>
              <a:rPr lang="en-US" sz="1360">
                <a:solidFill>
                  <a:srgbClr val="FFFFFF"/>
                </a:solidFill>
                <a:latin typeface="Arial"/>
              </a:rPr>
              <a:t>SOURCE: Source</a:t>
            </a:r>
          </a:p>
        </p:txBody>
      </p:sp>
    </p:spTree>
    <p:extLst>
      <p:ext uri="{BB962C8B-B14F-4D97-AF65-F5344CB8AC3E}">
        <p14:creationId xmlns:p14="http://schemas.microsoft.com/office/powerpoint/2010/main" val="30475482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80" r:id="rId7"/>
  </p:sldLayoutIdLst>
  <p:hf hdr="0" ftr="0" dt="0"/>
  <p:txStyles>
    <p:titleStyle>
      <a:lvl1pPr algn="l" defTabSz="1218218" rtl="0" eaLnBrk="1" fontAlgn="base" hangingPunct="1">
        <a:spcBef>
          <a:spcPct val="0"/>
        </a:spcBef>
        <a:spcAft>
          <a:spcPct val="0"/>
        </a:spcAft>
        <a:tabLst>
          <a:tab pos="367193" algn="l"/>
        </a:tabLst>
        <a:defRPr sz="2584" b="1" baseline="0">
          <a:solidFill>
            <a:srgbClr val="FF0000"/>
          </a:solidFill>
          <a:latin typeface="+mj-lt"/>
          <a:ea typeface="+mj-ea"/>
          <a:cs typeface="+mj-cs"/>
        </a:defRPr>
      </a:lvl1pPr>
      <a:lvl2pPr algn="l" defTabSz="1218218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2pPr>
      <a:lvl3pPr algn="l" defTabSz="1218218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3pPr>
      <a:lvl4pPr algn="l" defTabSz="1218218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4pPr>
      <a:lvl5pPr algn="l" defTabSz="1218218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5pPr>
      <a:lvl6pPr marL="622069" algn="l" defTabSz="1218218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6pPr>
      <a:lvl7pPr marL="1244137" algn="l" defTabSz="1218218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7pPr>
      <a:lvl8pPr marL="1866204" algn="l" defTabSz="1218218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8pPr>
      <a:lvl9pPr marL="2488274" algn="l" defTabSz="1218218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9pPr>
    </p:titleStyle>
    <p:bodyStyle>
      <a:lvl1pPr marL="0" indent="0" algn="l" defTabSz="121821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2176" baseline="0">
          <a:solidFill>
            <a:schemeClr val="tx1"/>
          </a:solidFill>
          <a:latin typeface="+mn-lt"/>
          <a:ea typeface="+mn-ea"/>
          <a:cs typeface="+mn-cs"/>
        </a:defRPr>
      </a:lvl1pPr>
      <a:lvl2pPr marL="263516" indent="-261355" algn="l" defTabSz="121821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2176" baseline="0">
          <a:solidFill>
            <a:schemeClr val="tx1"/>
          </a:solidFill>
          <a:latin typeface="+mn-lt"/>
        </a:defRPr>
      </a:lvl2pPr>
      <a:lvl3pPr marL="622069" indent="-356394" algn="l" defTabSz="121821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2176" baseline="0">
          <a:solidFill>
            <a:schemeClr val="tx1"/>
          </a:solidFill>
          <a:latin typeface="+mn-lt"/>
        </a:defRPr>
      </a:lvl3pPr>
      <a:lvl4pPr marL="835905" indent="-211677" algn="l" defTabSz="121821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2176" baseline="0">
          <a:solidFill>
            <a:schemeClr val="tx1"/>
          </a:solidFill>
          <a:latin typeface="+mn-lt"/>
        </a:defRPr>
      </a:lvl4pPr>
      <a:lvl5pPr marL="1020193" indent="-177115" algn="l" defTabSz="121821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5pPr>
      <a:lvl6pPr marL="1020193" indent="-177115" algn="l" defTabSz="121821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6pPr>
      <a:lvl7pPr marL="1020193" indent="-177115" algn="l" defTabSz="121821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7pPr>
      <a:lvl8pPr marL="1020193" indent="-177115" algn="l" defTabSz="121821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8pPr>
      <a:lvl9pPr marL="1020193" indent="-177115" algn="l" defTabSz="121821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44137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1pPr>
      <a:lvl2pPr marL="622069" algn="l" defTabSz="1244137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2pPr>
      <a:lvl3pPr marL="1244137" algn="l" defTabSz="1244137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3pPr>
      <a:lvl4pPr marL="1866204" algn="l" defTabSz="1244137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4pPr>
      <a:lvl5pPr marL="2488274" algn="l" defTabSz="1244137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5pPr>
      <a:lvl6pPr marL="3110340" algn="l" defTabSz="1244137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6pPr>
      <a:lvl7pPr marL="3732410" algn="l" defTabSz="1244137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7pPr>
      <a:lvl8pPr marL="4354477" algn="l" defTabSz="1244137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8pPr>
      <a:lvl9pPr marL="4976546" algn="l" defTabSz="1244137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655943433"/>
              </p:ext>
            </p:ext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270" imgH="270" progId="TCLayout.ActiveDocument.1">
                  <p:embed/>
                </p:oleObj>
              </mc:Choice>
              <mc:Fallback>
                <p:oleObj name="think-cell Slide" r:id="rId27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F4F878B-CF02-4A0B-B3CC-44453379628D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215979" cy="161974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84" b="1" i="0" baseline="0" dirty="0" err="1">
              <a:solidFill>
                <a:schemeClr val="tx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auto">
          <a:xfrm>
            <a:off x="161985" y="27540"/>
            <a:ext cx="1192344" cy="299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905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auto">
          <a:xfrm>
            <a:off x="161991" y="542625"/>
            <a:ext cx="11725484" cy="3416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2176">
                <a:solidFill>
                  <a:srgbClr val="808080"/>
                </a:solidFill>
                <a:latin typeface="Arial"/>
              </a:rPr>
              <a:t>Subtitl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auto">
          <a:xfrm>
            <a:off x="3050701" y="1456690"/>
            <a:ext cx="5801188" cy="701350"/>
            <a:chOff x="915" y="597"/>
            <a:chExt cx="2686" cy="433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597"/>
              <a:ext cx="2686" cy="43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2176" b="1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 sz="2176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grpSp>
        <p:nvGrpSpPr>
          <p:cNvPr id="25" name="LegendBoxes" hidden="1"/>
          <p:cNvGrpSpPr>
            <a:grpSpLocks/>
          </p:cNvGrpSpPr>
          <p:nvPr userDrawn="1"/>
        </p:nvGrpSpPr>
        <p:grpSpPr bwMode="auto">
          <a:xfrm>
            <a:off x="10848617" y="282584"/>
            <a:ext cx="1062616" cy="1085231"/>
            <a:chOff x="4936" y="176"/>
            <a:chExt cx="492" cy="670"/>
          </a:xfrm>
        </p:grpSpPr>
        <p:sp>
          <p:nvSpPr>
            <p:cNvPr id="26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32" cy="1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218">
                <a:buClr>
                  <a:srgbClr val="002960"/>
                </a:buClr>
              </a:pPr>
              <a:r>
                <a:rPr lang="en-US" sz="1632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27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217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8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32" cy="1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218">
                <a:buClr>
                  <a:srgbClr val="002960"/>
                </a:buClr>
              </a:pPr>
              <a:r>
                <a:rPr lang="en-US" sz="1632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29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217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32" cy="1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218">
                <a:buClr>
                  <a:srgbClr val="002960"/>
                </a:buClr>
              </a:pPr>
              <a:r>
                <a:rPr lang="en-US" sz="1632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1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217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2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32" cy="1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218">
                <a:buClr>
                  <a:srgbClr val="002960"/>
                </a:buClr>
              </a:pPr>
              <a:r>
                <a:rPr lang="en-US" sz="1632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3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2176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34" name="LegendLines" hidden="1"/>
          <p:cNvGrpSpPr>
            <a:grpSpLocks/>
          </p:cNvGrpSpPr>
          <p:nvPr userDrawn="1"/>
        </p:nvGrpSpPr>
        <p:grpSpPr bwMode="auto">
          <a:xfrm>
            <a:off x="10429618" y="282584"/>
            <a:ext cx="1481617" cy="813114"/>
            <a:chOff x="4750" y="176"/>
            <a:chExt cx="686" cy="502"/>
          </a:xfrm>
        </p:grpSpPr>
        <p:sp>
          <p:nvSpPr>
            <p:cNvPr id="35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217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6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217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7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217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8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32" cy="1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218">
                <a:buClr>
                  <a:srgbClr val="002960"/>
                </a:buClr>
              </a:pPr>
              <a:r>
                <a:rPr lang="en-US" sz="1632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9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32" cy="1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218">
                <a:buClr>
                  <a:srgbClr val="002960"/>
                </a:buClr>
              </a:pPr>
              <a:r>
                <a:rPr lang="en-US" sz="1632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40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32" cy="1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218">
                <a:buClr>
                  <a:srgbClr val="002960"/>
                </a:buClr>
              </a:pPr>
              <a:r>
                <a:rPr lang="en-US" sz="1632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  <p:grpSp>
        <p:nvGrpSpPr>
          <p:cNvPr id="41" name="Sticker" hidden="1"/>
          <p:cNvGrpSpPr/>
          <p:nvPr userDrawn="1"/>
        </p:nvGrpSpPr>
        <p:grpSpPr bwMode="auto">
          <a:xfrm>
            <a:off x="10417220" y="282581"/>
            <a:ext cx="1470262" cy="284523"/>
            <a:chOff x="7660094" y="285750"/>
            <a:chExt cx="1080681" cy="278859"/>
          </a:xfrm>
        </p:grpSpPr>
        <p:sp>
          <p:nvSpPr>
            <p:cNvPr id="42" name="StickerRectangle"/>
            <p:cNvSpPr>
              <a:spLocks noChangeArrowheads="1"/>
            </p:cNvSpPr>
            <p:nvPr/>
          </p:nvSpPr>
          <p:spPr bwMode="auto">
            <a:xfrm>
              <a:off x="7660094" y="285750"/>
              <a:ext cx="1080681" cy="27885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218218">
                <a:buClr>
                  <a:srgbClr val="002960"/>
                </a:buClr>
              </a:pPr>
              <a:r>
                <a:rPr lang="en-US" sz="1632">
                  <a:solidFill>
                    <a:srgbClr val="808080"/>
                  </a:solidFill>
                  <a:latin typeface="Arial"/>
                </a:rPr>
                <a:t>PRELIMINARY</a:t>
              </a:r>
            </a:p>
          </p:txBody>
        </p:sp>
        <p:cxnSp>
          <p:nvCxnSpPr>
            <p:cNvPr id="43" name="AutoShape 31"/>
            <p:cNvCxnSpPr>
              <a:cxnSpLocks noChangeShapeType="1"/>
              <a:stCxn id="42" idx="2"/>
              <a:endCxn id="42" idx="4"/>
            </p:cNvCxnSpPr>
            <p:nvPr/>
          </p:nvCxnSpPr>
          <p:spPr bwMode="auto">
            <a:xfrm>
              <a:off x="7660094" y="285750"/>
              <a:ext cx="0" cy="278859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4" name="AutoShape 32"/>
            <p:cNvCxnSpPr>
              <a:cxnSpLocks noChangeShapeType="1"/>
              <a:stCxn id="42" idx="4"/>
              <a:endCxn id="42" idx="6"/>
            </p:cNvCxnSpPr>
            <p:nvPr/>
          </p:nvCxnSpPr>
          <p:spPr bwMode="auto">
            <a:xfrm>
              <a:off x="7660094" y="564609"/>
              <a:ext cx="1080681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5" name="LegendMoons" hidden="1"/>
          <p:cNvGrpSpPr/>
          <p:nvPr userDrawn="1"/>
        </p:nvGrpSpPr>
        <p:grpSpPr bwMode="auto">
          <a:xfrm>
            <a:off x="10757672" y="282577"/>
            <a:ext cx="1152664" cy="1388465"/>
            <a:chOff x="7769225" y="2105025"/>
            <a:chExt cx="847238" cy="1360824"/>
          </a:xfrm>
        </p:grpSpPr>
        <p:grpSp>
          <p:nvGrpSpPr>
            <p:cNvPr id="46" name="MoonLegend1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64" name="Oval 38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2176">
                  <a:solidFill>
                    <a:srgbClr val="000000"/>
                  </a:solidFill>
                </a:endParaRPr>
              </a:p>
            </p:txBody>
          </p:sp>
          <p:sp>
            <p:nvSpPr>
              <p:cNvPr id="65" name="Arc 39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2176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7" name="MoonLegend2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62" name="Oval 41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2176">
                  <a:solidFill>
                    <a:srgbClr val="000000"/>
                  </a:solidFill>
                </a:endParaRPr>
              </a:p>
            </p:txBody>
          </p:sp>
          <p:sp>
            <p:nvSpPr>
              <p:cNvPr id="63" name="Arc 42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2176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8" name="MoonLegend4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60" name="Oval 47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2176">
                  <a:solidFill>
                    <a:srgbClr val="000000"/>
                  </a:solidFill>
                </a:endParaRPr>
              </a:p>
            </p:txBody>
          </p:sp>
          <p:sp>
            <p:nvSpPr>
              <p:cNvPr id="61" name="Arc 48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2176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9" name="MoonLegend5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58" name="Oval 50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2176">
                  <a:solidFill>
                    <a:srgbClr val="000000"/>
                  </a:solidFill>
                </a:endParaRPr>
              </a:p>
            </p:txBody>
          </p:sp>
          <p:sp>
            <p:nvSpPr>
              <p:cNvPr id="59" name="Oval 5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2176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0" name="Legend1"/>
            <p:cNvSpPr>
              <a:spLocks noChangeArrowheads="1"/>
            </p:cNvSpPr>
            <p:nvPr/>
          </p:nvSpPr>
          <p:spPr bwMode="auto">
            <a:xfrm>
              <a:off x="8089900" y="2117725"/>
              <a:ext cx="526563" cy="25115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218">
                <a:buClr>
                  <a:srgbClr val="002960"/>
                </a:buClr>
              </a:pPr>
              <a:r>
                <a:rPr lang="en-US" sz="1632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1" name="Legend2"/>
            <p:cNvSpPr>
              <a:spLocks noChangeArrowheads="1"/>
            </p:cNvSpPr>
            <p:nvPr/>
          </p:nvSpPr>
          <p:spPr bwMode="auto">
            <a:xfrm>
              <a:off x="8089900" y="2392363"/>
              <a:ext cx="526563" cy="25115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218">
                <a:buClr>
                  <a:srgbClr val="002960"/>
                </a:buClr>
              </a:pPr>
              <a:r>
                <a:rPr lang="en-US" sz="1632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2" name="Legend3"/>
            <p:cNvSpPr>
              <a:spLocks noChangeArrowheads="1"/>
            </p:cNvSpPr>
            <p:nvPr/>
          </p:nvSpPr>
          <p:spPr bwMode="auto">
            <a:xfrm>
              <a:off x="8089900" y="2667002"/>
              <a:ext cx="526563" cy="25115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218">
                <a:buClr>
                  <a:srgbClr val="002960"/>
                </a:buClr>
              </a:pPr>
              <a:r>
                <a:rPr lang="en-US" sz="1632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3" name="Legend4"/>
            <p:cNvSpPr>
              <a:spLocks noChangeArrowheads="1"/>
            </p:cNvSpPr>
            <p:nvPr/>
          </p:nvSpPr>
          <p:spPr bwMode="auto">
            <a:xfrm>
              <a:off x="8089900" y="2938465"/>
              <a:ext cx="526563" cy="25115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218">
                <a:buClr>
                  <a:srgbClr val="002960"/>
                </a:buClr>
              </a:pPr>
              <a:r>
                <a:rPr lang="en-US" sz="1632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4" name="Legend5"/>
            <p:cNvSpPr>
              <a:spLocks noChangeArrowheads="1"/>
            </p:cNvSpPr>
            <p:nvPr/>
          </p:nvSpPr>
          <p:spPr bwMode="auto">
            <a:xfrm>
              <a:off x="8089900" y="3214690"/>
              <a:ext cx="526563" cy="25115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218">
                <a:buClr>
                  <a:srgbClr val="002960"/>
                </a:buClr>
              </a:pPr>
              <a:r>
                <a:rPr lang="en-US" sz="1632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grpSp>
          <p:nvGrpSpPr>
            <p:cNvPr id="55" name="MoonLegend3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56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2176">
                  <a:solidFill>
                    <a:srgbClr val="000000"/>
                  </a:solidFill>
                </a:endParaRPr>
              </a:p>
            </p:txBody>
          </p:sp>
          <p:sp>
            <p:nvSpPr>
              <p:cNvPr id="57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2176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13" name="4. Footnote" hidden="1"/>
          <p:cNvSpPr txBox="1">
            <a:spLocks noChangeArrowheads="1"/>
          </p:cNvSpPr>
          <p:nvPr userDrawn="1"/>
        </p:nvSpPr>
        <p:spPr bwMode="auto">
          <a:xfrm>
            <a:off x="161985" y="6145589"/>
            <a:ext cx="11630454" cy="2135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360">
                <a:solidFill>
                  <a:srgbClr val="000000"/>
                </a:solidFill>
                <a:latin typeface="Arial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 userDrawn="1"/>
        </p:nvSpPr>
        <p:spPr bwMode="auto">
          <a:xfrm>
            <a:off x="161985" y="6538245"/>
            <a:ext cx="8386454" cy="2135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marL="829425" indent="-829425" defTabSz="1218218">
              <a:tabLst>
                <a:tab pos="833745" algn="l"/>
              </a:tabLst>
            </a:pPr>
            <a:r>
              <a:rPr lang="en-US" sz="1360">
                <a:solidFill>
                  <a:srgbClr val="FFFFFF"/>
                </a:solidFill>
                <a:latin typeface="Arial"/>
              </a:rPr>
              <a:t>SOURCE: Source</a:t>
            </a:r>
          </a:p>
        </p:txBody>
      </p:sp>
    </p:spTree>
    <p:extLst>
      <p:ext uri="{BB962C8B-B14F-4D97-AF65-F5344CB8AC3E}">
        <p14:creationId xmlns:p14="http://schemas.microsoft.com/office/powerpoint/2010/main" val="40827522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  <p:sldLayoutId id="2147483685" r:id="rId4"/>
    <p:sldLayoutId id="2147483686" r:id="rId5"/>
    <p:sldLayoutId id="2147483687" r:id="rId6"/>
    <p:sldLayoutId id="2147483688" r:id="rId7"/>
    <p:sldLayoutId id="2147483689" r:id="rId8"/>
  </p:sldLayoutIdLst>
  <p:hf hdr="0" ftr="0" dt="0"/>
  <p:txStyles>
    <p:titleStyle>
      <a:lvl1pPr algn="l" defTabSz="1218218" rtl="0" eaLnBrk="1" fontAlgn="base" hangingPunct="1">
        <a:spcBef>
          <a:spcPct val="0"/>
        </a:spcBef>
        <a:spcAft>
          <a:spcPct val="0"/>
        </a:spcAft>
        <a:tabLst>
          <a:tab pos="367193" algn="l"/>
        </a:tabLst>
        <a:defRPr sz="2584" b="1" baseline="0">
          <a:solidFill>
            <a:srgbClr val="FF0000"/>
          </a:solidFill>
          <a:latin typeface="+mj-lt"/>
          <a:ea typeface="+mj-ea"/>
          <a:cs typeface="+mj-cs"/>
        </a:defRPr>
      </a:lvl1pPr>
      <a:lvl2pPr algn="l" defTabSz="1218218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2pPr>
      <a:lvl3pPr algn="l" defTabSz="1218218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3pPr>
      <a:lvl4pPr algn="l" defTabSz="1218218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4pPr>
      <a:lvl5pPr algn="l" defTabSz="1218218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5pPr>
      <a:lvl6pPr marL="622069" algn="l" defTabSz="1218218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6pPr>
      <a:lvl7pPr marL="1244137" algn="l" defTabSz="1218218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7pPr>
      <a:lvl8pPr marL="1866204" algn="l" defTabSz="1218218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8pPr>
      <a:lvl9pPr marL="2488274" algn="l" defTabSz="1218218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9pPr>
    </p:titleStyle>
    <p:bodyStyle>
      <a:lvl1pPr marL="0" indent="0" algn="l" defTabSz="121821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2176" baseline="0">
          <a:solidFill>
            <a:schemeClr val="tx1"/>
          </a:solidFill>
          <a:latin typeface="+mn-lt"/>
          <a:ea typeface="+mn-ea"/>
          <a:cs typeface="+mn-cs"/>
        </a:defRPr>
      </a:lvl1pPr>
      <a:lvl2pPr marL="263516" indent="-261355" algn="l" defTabSz="121821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2176" baseline="0">
          <a:solidFill>
            <a:schemeClr val="tx1"/>
          </a:solidFill>
          <a:latin typeface="+mn-lt"/>
        </a:defRPr>
      </a:lvl2pPr>
      <a:lvl3pPr marL="622069" indent="-356394" algn="l" defTabSz="121821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2176" baseline="0">
          <a:solidFill>
            <a:schemeClr val="tx1"/>
          </a:solidFill>
          <a:latin typeface="+mn-lt"/>
        </a:defRPr>
      </a:lvl3pPr>
      <a:lvl4pPr marL="835905" indent="-211677" algn="l" defTabSz="121821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2176" baseline="0">
          <a:solidFill>
            <a:schemeClr val="tx1"/>
          </a:solidFill>
          <a:latin typeface="+mn-lt"/>
        </a:defRPr>
      </a:lvl4pPr>
      <a:lvl5pPr marL="1020193" indent="-177115" algn="l" defTabSz="121821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5pPr>
      <a:lvl6pPr marL="1020193" indent="-177115" algn="l" defTabSz="121821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6pPr>
      <a:lvl7pPr marL="1020193" indent="-177115" algn="l" defTabSz="121821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7pPr>
      <a:lvl8pPr marL="1020193" indent="-177115" algn="l" defTabSz="121821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8pPr>
      <a:lvl9pPr marL="1020193" indent="-177115" algn="l" defTabSz="121821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44137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1pPr>
      <a:lvl2pPr marL="622069" algn="l" defTabSz="1244137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2pPr>
      <a:lvl3pPr marL="1244137" algn="l" defTabSz="1244137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3pPr>
      <a:lvl4pPr marL="1866204" algn="l" defTabSz="1244137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4pPr>
      <a:lvl5pPr marL="2488274" algn="l" defTabSz="1244137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5pPr>
      <a:lvl6pPr marL="3110340" algn="l" defTabSz="1244137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6pPr>
      <a:lvl7pPr marL="3732410" algn="l" defTabSz="1244137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7pPr>
      <a:lvl8pPr marL="4354477" algn="l" defTabSz="1244137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8pPr>
      <a:lvl9pPr marL="4976546" algn="l" defTabSz="1244137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7" Type="http://schemas.openxmlformats.org/officeDocument/2006/relationships/image" Target="../media/image2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image" Target="../media/image30.png"/><Relationship Id="rId7" Type="http://schemas.openxmlformats.org/officeDocument/2006/relationships/image" Target="../media/image27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3.xml"/><Relationship Id="rId6" Type="http://schemas.openxmlformats.org/officeDocument/2006/relationships/image" Target="../media/image26.png"/><Relationship Id="rId5" Type="http://schemas.openxmlformats.org/officeDocument/2006/relationships/image" Target="../media/image40.emf"/><Relationship Id="rId10" Type="http://schemas.openxmlformats.org/officeDocument/2006/relationships/image" Target="../media/image42.png"/><Relationship Id="rId4" Type="http://schemas.openxmlformats.org/officeDocument/2006/relationships/oleObject" Target="../embeddings/oleObject9.bin"/><Relationship Id="rId9" Type="http://schemas.openxmlformats.org/officeDocument/2006/relationships/image" Target="../media/image29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image" Target="../media/image26.png"/><Relationship Id="rId7" Type="http://schemas.openxmlformats.org/officeDocument/2006/relationships/image" Target="../media/image28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3.png"/><Relationship Id="rId5" Type="http://schemas.openxmlformats.org/officeDocument/2006/relationships/chart" Target="../charts/chart2.xml"/><Relationship Id="rId4" Type="http://schemas.openxmlformats.org/officeDocument/2006/relationships/image" Target="../media/image27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7" Type="http://schemas.openxmlformats.org/officeDocument/2006/relationships/image" Target="../media/image29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8.png"/><Relationship Id="rId5" Type="http://schemas.openxmlformats.org/officeDocument/2006/relationships/image" Target="../media/image44.png"/><Relationship Id="rId4" Type="http://schemas.openxmlformats.org/officeDocument/2006/relationships/image" Target="../media/image27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jpeg"/><Relationship Id="rId3" Type="http://schemas.openxmlformats.org/officeDocument/2006/relationships/image" Target="../media/image26.png"/><Relationship Id="rId7" Type="http://schemas.openxmlformats.org/officeDocument/2006/relationships/image" Target="../media/image29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8.png"/><Relationship Id="rId5" Type="http://schemas.openxmlformats.org/officeDocument/2006/relationships/image" Target="../media/image45.png"/><Relationship Id="rId10" Type="http://schemas.openxmlformats.org/officeDocument/2006/relationships/image" Target="../media/image48.png"/><Relationship Id="rId4" Type="http://schemas.openxmlformats.org/officeDocument/2006/relationships/image" Target="../media/image27.png"/><Relationship Id="rId9" Type="http://schemas.openxmlformats.org/officeDocument/2006/relationships/image" Target="../media/image47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7" Type="http://schemas.openxmlformats.org/officeDocument/2006/relationships/image" Target="../media/image29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8.png"/><Relationship Id="rId5" Type="http://schemas.openxmlformats.org/officeDocument/2006/relationships/image" Target="../media/image49.png"/><Relationship Id="rId4" Type="http://schemas.openxmlformats.org/officeDocument/2006/relationships/image" Target="../media/image27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7" Type="http://schemas.openxmlformats.org/officeDocument/2006/relationships/image" Target="../media/image50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7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image" Target="../media/image30.png"/><Relationship Id="rId7" Type="http://schemas.openxmlformats.org/officeDocument/2006/relationships/image" Target="../media/image3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1.png"/><Relationship Id="rId11" Type="http://schemas.openxmlformats.org/officeDocument/2006/relationships/image" Target="../media/image29.png"/><Relationship Id="rId5" Type="http://schemas.openxmlformats.org/officeDocument/2006/relationships/image" Target="../media/image27.png"/><Relationship Id="rId10" Type="http://schemas.openxmlformats.org/officeDocument/2006/relationships/image" Target="../media/image28.png"/><Relationship Id="rId4" Type="http://schemas.openxmlformats.org/officeDocument/2006/relationships/image" Target="../media/image26.png"/><Relationship Id="rId9" Type="http://schemas.openxmlformats.org/officeDocument/2006/relationships/image" Target="../media/image34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52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image" Target="../media/image30.png"/><Relationship Id="rId7" Type="http://schemas.openxmlformats.org/officeDocument/2006/relationships/image" Target="../media/image3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5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Relationship Id="rId9" Type="http://schemas.openxmlformats.org/officeDocument/2006/relationships/image" Target="../media/image2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7" Type="http://schemas.openxmlformats.org/officeDocument/2006/relationships/image" Target="../media/image2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7" Type="http://schemas.openxmlformats.org/officeDocument/2006/relationships/image" Target="../media/image2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image" Target="../media/image30.png"/><Relationship Id="rId7" Type="http://schemas.openxmlformats.org/officeDocument/2006/relationships/image" Target="../media/image3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7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Relationship Id="rId9" Type="http://schemas.openxmlformats.org/officeDocument/2006/relationships/image" Target="../media/image29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.xml"/><Relationship Id="rId13" Type="http://schemas.openxmlformats.org/officeDocument/2006/relationships/image" Target="../media/image28.png"/><Relationship Id="rId3" Type="http://schemas.openxmlformats.org/officeDocument/2006/relationships/image" Target="../media/image30.png"/><Relationship Id="rId7" Type="http://schemas.openxmlformats.org/officeDocument/2006/relationships/diagramLayout" Target="../diagrams/layout1.xml"/><Relationship Id="rId12" Type="http://schemas.openxmlformats.org/officeDocument/2006/relationships/chart" Target="../charts/chart1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6" Type="http://schemas.openxmlformats.org/officeDocument/2006/relationships/diagramData" Target="../diagrams/data1.xml"/><Relationship Id="rId11" Type="http://schemas.openxmlformats.org/officeDocument/2006/relationships/image" Target="../media/image39.png"/><Relationship Id="rId5" Type="http://schemas.openxmlformats.org/officeDocument/2006/relationships/image" Target="../media/image27.png"/><Relationship Id="rId10" Type="http://schemas.microsoft.com/office/2007/relationships/diagramDrawing" Target="../diagrams/drawing1.xml"/><Relationship Id="rId4" Type="http://schemas.openxmlformats.org/officeDocument/2006/relationships/image" Target="../media/image26.png"/><Relationship Id="rId9" Type="http://schemas.openxmlformats.org/officeDocument/2006/relationships/diagramColors" Target="../diagrams/colors1.xml"/><Relationship Id="rId14" Type="http://schemas.openxmlformats.org/officeDocument/2006/relationships/image" Target="../media/image29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image" Target="../media/image30.png"/><Relationship Id="rId7" Type="http://schemas.openxmlformats.org/officeDocument/2006/relationships/image" Target="../media/image29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2.xml"/><Relationship Id="rId6" Type="http://schemas.openxmlformats.org/officeDocument/2006/relationships/image" Target="../media/image28.png"/><Relationship Id="rId5" Type="http://schemas.openxmlformats.org/officeDocument/2006/relationships/image" Target="../media/image40.emf"/><Relationship Id="rId4" Type="http://schemas.openxmlformats.org/officeDocument/2006/relationships/oleObject" Target="../embeddings/oleObject9.bin"/><Relationship Id="rId9" Type="http://schemas.openxmlformats.org/officeDocument/2006/relationships/image" Target="../media/image2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7" Type="http://schemas.openxmlformats.org/officeDocument/2006/relationships/image" Target="../media/image29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BFEB16F3-0DE6-1198-3C66-C8D38A933F45}"/>
              </a:ext>
            </a:extLst>
          </p:cNvPr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F46AC2F3-DA06-003E-63F7-C9F9DDF938C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0" y="0"/>
              <a:ext cx="12192000" cy="6858000"/>
            </a:xfrm>
            <a:prstGeom prst="rect">
              <a:avLst/>
            </a:prstGeom>
          </p:spPr>
        </p:pic>
        <p:sp>
          <p:nvSpPr>
            <p:cNvPr id="9" name="Title 1">
              <a:extLst>
                <a:ext uri="{FF2B5EF4-FFF2-40B4-BE49-F238E27FC236}">
                  <a16:creationId xmlns:a16="http://schemas.microsoft.com/office/drawing/2014/main" id="{CCA6E6C9-AA1A-8251-CE97-9822DBC95063}"/>
                </a:ext>
              </a:extLst>
            </p:cNvPr>
            <p:cNvSpPr txBox="1">
              <a:spLocks/>
            </p:cNvSpPr>
            <p:nvPr/>
          </p:nvSpPr>
          <p:spPr>
            <a:xfrm>
              <a:off x="380124" y="1270559"/>
              <a:ext cx="8067685" cy="2387600"/>
            </a:xfrm>
            <a:prstGeom prst="rect">
              <a:avLst/>
            </a:prstGeom>
          </p:spPr>
          <p:txBody>
            <a:bodyPr anchor="ctr">
              <a:noAutofit/>
            </a:bodyPr>
            <a:lstStyle>
              <a:lvl1pPr algn="l" defTabSz="1218218" rtl="0" eaLnBrk="1" fontAlgn="base" hangingPunct="1">
                <a:spcBef>
                  <a:spcPct val="0"/>
                </a:spcBef>
                <a:spcAft>
                  <a:spcPct val="0"/>
                </a:spcAft>
                <a:tabLst>
                  <a:tab pos="367193" algn="l"/>
                </a:tabLst>
                <a:defRPr sz="2584" b="1" baseline="0">
                  <a:solidFill>
                    <a:srgbClr val="FF0000"/>
                  </a:solidFill>
                  <a:latin typeface="+mj-lt"/>
                  <a:ea typeface="+mj-ea"/>
                  <a:cs typeface="+mj-cs"/>
                </a:defRPr>
              </a:lvl1pPr>
              <a:lvl2pPr algn="l" defTabSz="1218218" rtl="0" eaLnBrk="1" fontAlgn="base" hangingPunct="1">
                <a:spcBef>
                  <a:spcPct val="0"/>
                </a:spcBef>
                <a:spcAft>
                  <a:spcPct val="0"/>
                </a:spcAft>
                <a:defRPr sz="2584" b="1">
                  <a:solidFill>
                    <a:schemeClr val="tx2"/>
                  </a:solidFill>
                  <a:latin typeface="Arial" charset="0"/>
                </a:defRPr>
              </a:lvl2pPr>
              <a:lvl3pPr algn="l" defTabSz="1218218" rtl="0" eaLnBrk="1" fontAlgn="base" hangingPunct="1">
                <a:spcBef>
                  <a:spcPct val="0"/>
                </a:spcBef>
                <a:spcAft>
                  <a:spcPct val="0"/>
                </a:spcAft>
                <a:defRPr sz="2584" b="1">
                  <a:solidFill>
                    <a:schemeClr val="tx2"/>
                  </a:solidFill>
                  <a:latin typeface="Arial" charset="0"/>
                </a:defRPr>
              </a:lvl3pPr>
              <a:lvl4pPr algn="l" defTabSz="1218218" rtl="0" eaLnBrk="1" fontAlgn="base" hangingPunct="1">
                <a:spcBef>
                  <a:spcPct val="0"/>
                </a:spcBef>
                <a:spcAft>
                  <a:spcPct val="0"/>
                </a:spcAft>
                <a:defRPr sz="2584" b="1">
                  <a:solidFill>
                    <a:schemeClr val="tx2"/>
                  </a:solidFill>
                  <a:latin typeface="Arial" charset="0"/>
                </a:defRPr>
              </a:lvl4pPr>
              <a:lvl5pPr algn="l" defTabSz="1218218" rtl="0" eaLnBrk="1" fontAlgn="base" hangingPunct="1">
                <a:spcBef>
                  <a:spcPct val="0"/>
                </a:spcBef>
                <a:spcAft>
                  <a:spcPct val="0"/>
                </a:spcAft>
                <a:defRPr sz="2584" b="1">
                  <a:solidFill>
                    <a:schemeClr val="tx2"/>
                  </a:solidFill>
                  <a:latin typeface="Arial" charset="0"/>
                </a:defRPr>
              </a:lvl5pPr>
              <a:lvl6pPr marL="622069" algn="l" defTabSz="1218218" rtl="0" eaLnBrk="1" fontAlgn="base" hangingPunct="1">
                <a:spcBef>
                  <a:spcPct val="0"/>
                </a:spcBef>
                <a:spcAft>
                  <a:spcPct val="0"/>
                </a:spcAft>
                <a:defRPr sz="2584" b="1">
                  <a:solidFill>
                    <a:schemeClr val="tx2"/>
                  </a:solidFill>
                  <a:latin typeface="Arial" charset="0"/>
                </a:defRPr>
              </a:lvl6pPr>
              <a:lvl7pPr marL="1244137" algn="l" defTabSz="1218218" rtl="0" eaLnBrk="1" fontAlgn="base" hangingPunct="1">
                <a:spcBef>
                  <a:spcPct val="0"/>
                </a:spcBef>
                <a:spcAft>
                  <a:spcPct val="0"/>
                </a:spcAft>
                <a:defRPr sz="2584" b="1">
                  <a:solidFill>
                    <a:schemeClr val="tx2"/>
                  </a:solidFill>
                  <a:latin typeface="Arial" charset="0"/>
                </a:defRPr>
              </a:lvl7pPr>
              <a:lvl8pPr marL="1866204" algn="l" defTabSz="1218218" rtl="0" eaLnBrk="1" fontAlgn="base" hangingPunct="1">
                <a:spcBef>
                  <a:spcPct val="0"/>
                </a:spcBef>
                <a:spcAft>
                  <a:spcPct val="0"/>
                </a:spcAft>
                <a:defRPr sz="2584" b="1">
                  <a:solidFill>
                    <a:schemeClr val="tx2"/>
                  </a:solidFill>
                  <a:latin typeface="Arial" charset="0"/>
                </a:defRPr>
              </a:lvl8pPr>
              <a:lvl9pPr marL="2488274" algn="l" defTabSz="1218218" rtl="0" eaLnBrk="1" fontAlgn="base" hangingPunct="1">
                <a:spcBef>
                  <a:spcPct val="0"/>
                </a:spcBef>
                <a:spcAft>
                  <a:spcPct val="0"/>
                </a:spcAft>
                <a:defRPr sz="2584" b="1">
                  <a:solidFill>
                    <a:schemeClr val="tx2"/>
                  </a:solidFill>
                  <a:latin typeface="Arial" charset="0"/>
                </a:defRPr>
              </a:lvl9pPr>
            </a:lstStyle>
            <a:p>
              <a:r>
                <a:rPr lang="fi-FI" sz="3000">
                  <a:solidFill>
                    <a:srgbClr val="0C345B"/>
                  </a:solidFill>
                </a:rPr>
                <a:t>Meningkatkan Keandalan Sistem informasi dan Dokumentasi Historikal Peralatan Melalui Inovasi IDMS7</a:t>
              </a:r>
              <a:r>
                <a:rPr lang="fi-FI" sz="3000" b="0">
                  <a:solidFill>
                    <a:srgbClr val="0C345B"/>
                  </a:solidFill>
                </a:rPr>
                <a:t>​</a:t>
              </a:r>
              <a:endParaRPr lang="en-US" sz="3000" kern="0" dirty="0">
                <a:solidFill>
                  <a:srgbClr val="0C345B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Poppins SemiBold" pitchFamily="2" charset="77"/>
                <a:cs typeface="Poppins SemiBold" pitchFamily="2" charset="77"/>
              </a:endParaRPr>
            </a:p>
          </p:txBody>
        </p:sp>
        <p:sp>
          <p:nvSpPr>
            <p:cNvPr id="11" name="Subtitle 2">
              <a:extLst>
                <a:ext uri="{FF2B5EF4-FFF2-40B4-BE49-F238E27FC236}">
                  <a16:creationId xmlns:a16="http://schemas.microsoft.com/office/drawing/2014/main" id="{912D1C2C-5920-DBC2-51BE-ABD5682D61DE}"/>
                </a:ext>
              </a:extLst>
            </p:cNvPr>
            <p:cNvSpPr txBox="1">
              <a:spLocks/>
            </p:cNvSpPr>
            <p:nvPr/>
          </p:nvSpPr>
          <p:spPr>
            <a:xfrm>
              <a:off x="507124" y="4490721"/>
              <a:ext cx="5822731" cy="539038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rmAutofit/>
            </a:bodyPr>
            <a:lstStyle>
              <a:lvl1pPr marL="0" indent="0" algn="ctr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r>
                <a:rPr lang="en-US" sz="1600">
                  <a:solidFill>
                    <a:srgbClr val="002060"/>
                  </a:solidFill>
                </a:rPr>
                <a:t>Kasim, 24 Oktober </a:t>
              </a:r>
              <a:r>
                <a:rPr lang="en-US" sz="1600" dirty="0">
                  <a:solidFill>
                    <a:srgbClr val="002060"/>
                  </a:solidFill>
                </a:rPr>
                <a:t>2025</a:t>
              </a: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443174D0-15E1-0340-ADD0-2438464DC015}"/>
              </a:ext>
            </a:extLst>
          </p:cNvPr>
          <p:cNvGrpSpPr/>
          <p:nvPr/>
        </p:nvGrpSpPr>
        <p:grpSpPr>
          <a:xfrm>
            <a:off x="0" y="-49765"/>
            <a:ext cx="2649682" cy="904043"/>
            <a:chOff x="93023" y="-6002"/>
            <a:chExt cx="1439008" cy="463236"/>
          </a:xfrm>
        </p:grpSpPr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8E870373-8C27-B8AB-AE6C-10AD145DA163}"/>
                </a:ext>
              </a:extLst>
            </p:cNvPr>
            <p:cNvGrpSpPr/>
            <p:nvPr/>
          </p:nvGrpSpPr>
          <p:grpSpPr>
            <a:xfrm>
              <a:off x="93023" y="-6002"/>
              <a:ext cx="1439008" cy="463236"/>
              <a:chOff x="6171866" y="126174"/>
              <a:chExt cx="1126238" cy="369332"/>
            </a:xfrm>
          </p:grpSpPr>
          <p:pic>
            <p:nvPicPr>
              <p:cNvPr id="14" name="Picture 13">
                <a:extLst>
                  <a:ext uri="{FF2B5EF4-FFF2-40B4-BE49-F238E27FC236}">
                    <a16:creationId xmlns:a16="http://schemas.microsoft.com/office/drawing/2014/main" id="{61D5F48C-C830-0B79-F3F3-36E1BA9CA15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74148" b="84200"/>
              <a:stretch/>
            </p:blipFill>
            <p:spPr>
              <a:xfrm flipH="1">
                <a:off x="6171866" y="126174"/>
                <a:ext cx="1126238" cy="369332"/>
              </a:xfrm>
              <a:prstGeom prst="rect">
                <a:avLst/>
              </a:prstGeom>
              <a:effectLst>
                <a:outerShdw blurRad="50800" dist="38100" dir="8100000" algn="tr" rotWithShape="0">
                  <a:prstClr val="black">
                    <a:alpha val="40000"/>
                  </a:prstClr>
                </a:outerShdw>
              </a:effectLst>
            </p:spPr>
          </p:pic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26394AAE-3BD7-504F-B884-0AFAE16DA963}"/>
                  </a:ext>
                </a:extLst>
              </p:cNvPr>
              <p:cNvSpPr/>
              <p:nvPr/>
            </p:nvSpPr>
            <p:spPr>
              <a:xfrm>
                <a:off x="6271117" y="143647"/>
                <a:ext cx="771525" cy="23857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/>
              </a:p>
            </p:txBody>
          </p:sp>
        </p:grpSp>
        <p:pic>
          <p:nvPicPr>
            <p:cNvPr id="13" name="Picture 12" descr="A black background with a black square&#10;&#10;AI-generated content may be incorrect.">
              <a:extLst>
                <a:ext uri="{FF2B5EF4-FFF2-40B4-BE49-F238E27FC236}">
                  <a16:creationId xmlns:a16="http://schemas.microsoft.com/office/drawing/2014/main" id="{6E03AC7E-6E80-AB13-AA71-B38D2A9A713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9837" y="48823"/>
              <a:ext cx="934769" cy="233412"/>
            </a:xfrm>
            <a:prstGeom prst="rect">
              <a:avLst/>
            </a:prstGeom>
          </p:spPr>
        </p:pic>
      </p:grpSp>
      <p:pic>
        <p:nvPicPr>
          <p:cNvPr id="2" name="Picture 1" descr="A black screen with white text&#10;&#10;Description automatically generated">
            <a:extLst>
              <a:ext uri="{FF2B5EF4-FFF2-40B4-BE49-F238E27FC236}">
                <a16:creationId xmlns:a16="http://schemas.microsoft.com/office/drawing/2014/main" id="{12DC6382-0DE9-47CD-8C2B-2823E48C61A5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726" t="87519"/>
          <a:stretch/>
        </p:blipFill>
        <p:spPr>
          <a:xfrm>
            <a:off x="11584425" y="6477417"/>
            <a:ext cx="607574" cy="378163"/>
          </a:xfrm>
          <a:prstGeom prst="rect">
            <a:avLst/>
          </a:prstGeom>
        </p:spPr>
      </p:pic>
      <p:pic>
        <p:nvPicPr>
          <p:cNvPr id="3" name="Picture 2" descr="A black screen with white text&#10;&#10;Description automatically generated">
            <a:extLst>
              <a:ext uri="{FF2B5EF4-FFF2-40B4-BE49-F238E27FC236}">
                <a16:creationId xmlns:a16="http://schemas.microsoft.com/office/drawing/2014/main" id="{BE9ADA81-689D-D828-1480-5E92755C6071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311" r="78841"/>
          <a:stretch/>
        </p:blipFill>
        <p:spPr>
          <a:xfrm>
            <a:off x="0" y="6478090"/>
            <a:ext cx="1425463" cy="388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21200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1D73D65-995F-0F6F-73C3-FE241572EBA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roup 34">
            <a:extLst>
              <a:ext uri="{FF2B5EF4-FFF2-40B4-BE49-F238E27FC236}">
                <a16:creationId xmlns:a16="http://schemas.microsoft.com/office/drawing/2014/main" id="{C8B52C15-9A3C-2E31-C44F-565FBED1F2C0}"/>
              </a:ext>
            </a:extLst>
          </p:cNvPr>
          <p:cNvGrpSpPr/>
          <p:nvPr/>
        </p:nvGrpSpPr>
        <p:grpSpPr>
          <a:xfrm>
            <a:off x="10701" y="-15330"/>
            <a:ext cx="12197884" cy="6888660"/>
            <a:chOff x="95101" y="2012069"/>
            <a:chExt cx="12197884" cy="6888660"/>
          </a:xfrm>
        </p:grpSpPr>
        <p:pic>
          <p:nvPicPr>
            <p:cNvPr id="37" name="Picture 36">
              <a:extLst>
                <a:ext uri="{FF2B5EF4-FFF2-40B4-BE49-F238E27FC236}">
                  <a16:creationId xmlns:a16="http://schemas.microsoft.com/office/drawing/2014/main" id="{8F7E90AB-922A-390E-2403-AF26561D08C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101" y="2042729"/>
              <a:ext cx="12192000" cy="6858000"/>
            </a:xfrm>
            <a:prstGeom prst="rect">
              <a:avLst/>
            </a:prstGeom>
          </p:spPr>
        </p:pic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A429E05C-B7FD-7F34-1F3B-FF28B7D774F8}"/>
                </a:ext>
              </a:extLst>
            </p:cNvPr>
            <p:cNvSpPr/>
            <p:nvPr/>
          </p:nvSpPr>
          <p:spPr>
            <a:xfrm>
              <a:off x="95101" y="2012069"/>
              <a:ext cx="12197884" cy="6858000"/>
            </a:xfrm>
            <a:prstGeom prst="rect">
              <a:avLst/>
            </a:prstGeom>
            <a:gradFill>
              <a:gsLst>
                <a:gs pos="0">
                  <a:schemeClr val="accent1">
                    <a:lumMod val="5000"/>
                    <a:lumOff val="95000"/>
                    <a:alpha val="0"/>
                  </a:schemeClr>
                </a:gs>
                <a:gs pos="97000">
                  <a:srgbClr val="A6E1BD">
                    <a:alpha val="42115"/>
                  </a:srgbClr>
                </a:gs>
              </a:gsLst>
              <a:lin ang="4200000" scaled="0"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cs typeface="Futura Medium" panose="020B0602020204020303"/>
              </a:endParaRP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B2CAE682-1E2A-C467-B2D2-5BD314EE6706}"/>
              </a:ext>
            </a:extLst>
          </p:cNvPr>
          <p:cNvGrpSpPr/>
          <p:nvPr/>
        </p:nvGrpSpPr>
        <p:grpSpPr>
          <a:xfrm>
            <a:off x="126814" y="661463"/>
            <a:ext cx="5381625" cy="330383"/>
            <a:chOff x="6471175" y="1036663"/>
            <a:chExt cx="5372132" cy="330383"/>
          </a:xfrm>
        </p:grpSpPr>
        <p:sp>
          <p:nvSpPr>
            <p:cNvPr id="49" name="Title 1">
              <a:extLst>
                <a:ext uri="{FF2B5EF4-FFF2-40B4-BE49-F238E27FC236}">
                  <a16:creationId xmlns:a16="http://schemas.microsoft.com/office/drawing/2014/main" id="{12A56BCF-A4C8-0AF3-F9A0-0C5DC73C79BA}"/>
                </a:ext>
              </a:extLst>
            </p:cNvPr>
            <p:cNvSpPr txBox="1">
              <a:spLocks/>
            </p:cNvSpPr>
            <p:nvPr/>
          </p:nvSpPr>
          <p:spPr>
            <a:xfrm>
              <a:off x="6532362" y="1036663"/>
              <a:ext cx="5310945" cy="267796"/>
            </a:xfrm>
            <a:prstGeom prst="rect">
              <a:avLst/>
            </a:prstGeom>
            <a:solidFill>
              <a:srgbClr val="ED7D31"/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horz" anchor="ctr"/>
            <a:lstStyle>
              <a:defPPr>
                <a:defRPr lang="en-US"/>
              </a:defPPr>
              <a:lvl1pPr marL="0"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800" b="1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200" dirty="0">
                  <a:latin typeface="Aptos Narrow" panose="020B0004020202020204" pitchFamily="34" charset="0"/>
                  <a:cs typeface="Calibri" panose="020F0502020204030204" pitchFamily="34" charset="0"/>
                </a:rPr>
                <a:t>Timeline </a:t>
              </a:r>
              <a:r>
                <a:rPr lang="en-US" sz="1200" dirty="0" err="1">
                  <a:latin typeface="Aptos Narrow" panose="020B0004020202020204" pitchFamily="34" charset="0"/>
                  <a:cs typeface="Calibri" panose="020F0502020204030204" pitchFamily="34" charset="0"/>
                </a:rPr>
                <a:t>Pekerjaan</a:t>
              </a:r>
              <a:endParaRPr lang="en-US" sz="1200" dirty="0">
                <a:latin typeface="Aptos Narrow" panose="020B000402020202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0" name="Flowchart: Connector 49">
              <a:extLst>
                <a:ext uri="{FF2B5EF4-FFF2-40B4-BE49-F238E27FC236}">
                  <a16:creationId xmlns:a16="http://schemas.microsoft.com/office/drawing/2014/main" id="{7239B923-B203-A697-78C9-43892660702C}"/>
                </a:ext>
              </a:extLst>
            </p:cNvPr>
            <p:cNvSpPr/>
            <p:nvPr/>
          </p:nvSpPr>
          <p:spPr>
            <a:xfrm>
              <a:off x="6471175" y="1238798"/>
              <a:ext cx="122373" cy="128248"/>
            </a:xfrm>
            <a:prstGeom prst="flowChartConnector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style>
            <a:lnRef idx="2">
              <a:schemeClr val="accent3">
                <a:shade val="15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ID"/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35773F50-2F0F-80BF-35A3-79A7961A7E87}"/>
              </a:ext>
            </a:extLst>
          </p:cNvPr>
          <p:cNvGrpSpPr/>
          <p:nvPr/>
        </p:nvGrpSpPr>
        <p:grpSpPr>
          <a:xfrm>
            <a:off x="126814" y="3211672"/>
            <a:ext cx="5525519" cy="347250"/>
            <a:chOff x="6471175" y="937273"/>
            <a:chExt cx="5515772" cy="347250"/>
          </a:xfrm>
        </p:grpSpPr>
        <p:sp>
          <p:nvSpPr>
            <p:cNvPr id="47" name="Title 1">
              <a:extLst>
                <a:ext uri="{FF2B5EF4-FFF2-40B4-BE49-F238E27FC236}">
                  <a16:creationId xmlns:a16="http://schemas.microsoft.com/office/drawing/2014/main" id="{8C9A3657-A173-9E77-7872-827F0948D092}"/>
                </a:ext>
              </a:extLst>
            </p:cNvPr>
            <p:cNvSpPr txBox="1">
              <a:spLocks/>
            </p:cNvSpPr>
            <p:nvPr/>
          </p:nvSpPr>
          <p:spPr>
            <a:xfrm>
              <a:off x="6532362" y="937273"/>
              <a:ext cx="5454585" cy="267796"/>
            </a:xfrm>
            <a:prstGeom prst="rect">
              <a:avLst/>
            </a:prstGeom>
            <a:solidFill>
              <a:srgbClr val="ED7D31"/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horz" anchor="ctr"/>
            <a:lstStyle>
              <a:defPPr>
                <a:defRPr lang="en-US"/>
              </a:defPPr>
              <a:lvl1pPr marL="0"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800" b="1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200" dirty="0" err="1">
                  <a:latin typeface="Aptos Narrow" panose="020B0004020202020204" pitchFamily="34" charset="0"/>
                  <a:cs typeface="Calibri" panose="020F0502020204030204" pitchFamily="34" charset="0"/>
                </a:rPr>
                <a:t>Analisis</a:t>
              </a:r>
              <a:r>
                <a:rPr lang="en-US" sz="1200" dirty="0">
                  <a:latin typeface="Aptos Narrow" panose="020B0004020202020204" pitchFamily="34" charset="0"/>
                  <a:cs typeface="Calibri" panose="020F0502020204030204" pitchFamily="34" charset="0"/>
                </a:rPr>
                <a:t> </a:t>
              </a:r>
              <a:r>
                <a:rPr lang="en-US" sz="1200" dirty="0" err="1">
                  <a:latin typeface="Aptos Narrow" panose="020B0004020202020204" pitchFamily="34" charset="0"/>
                  <a:cs typeface="Calibri" panose="020F0502020204030204" pitchFamily="34" charset="0"/>
                </a:rPr>
                <a:t>Resiko</a:t>
              </a:r>
              <a:r>
                <a:rPr lang="en-US" sz="1200" dirty="0">
                  <a:latin typeface="Aptos Narrow" panose="020B0004020202020204" pitchFamily="34" charset="0"/>
                  <a:cs typeface="Calibri" panose="020F0502020204030204" pitchFamily="34" charset="0"/>
                </a:rPr>
                <a:t> </a:t>
              </a:r>
              <a:r>
                <a:rPr lang="en-US" sz="1200" dirty="0" err="1">
                  <a:latin typeface="Aptos Narrow" panose="020B0004020202020204" pitchFamily="34" charset="0"/>
                  <a:cs typeface="Calibri" panose="020F0502020204030204" pitchFamily="34" charset="0"/>
                </a:rPr>
                <a:t>Terhadap</a:t>
              </a:r>
              <a:r>
                <a:rPr lang="en-US" sz="1200" dirty="0">
                  <a:latin typeface="Aptos Narrow" panose="020B0004020202020204" pitchFamily="34" charset="0"/>
                  <a:cs typeface="Calibri" panose="020F0502020204030204" pitchFamily="34" charset="0"/>
                </a:rPr>
                <a:t>  Solusi </a:t>
              </a:r>
              <a:r>
                <a:rPr lang="en-US" sz="1200" dirty="0" err="1">
                  <a:latin typeface="Aptos Narrow" panose="020B0004020202020204" pitchFamily="34" charset="0"/>
                  <a:cs typeface="Calibri" panose="020F0502020204030204" pitchFamily="34" charset="0"/>
                </a:rPr>
                <a:t>Terpilih</a:t>
              </a:r>
              <a:endParaRPr lang="en-US" sz="1200" dirty="0">
                <a:latin typeface="Aptos Narrow" panose="020B000402020202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8" name="Flowchart: Connector 47">
              <a:extLst>
                <a:ext uri="{FF2B5EF4-FFF2-40B4-BE49-F238E27FC236}">
                  <a16:creationId xmlns:a16="http://schemas.microsoft.com/office/drawing/2014/main" id="{B1DDFE18-419E-0AEC-4BB3-08D84D8C9B52}"/>
                </a:ext>
              </a:extLst>
            </p:cNvPr>
            <p:cNvSpPr/>
            <p:nvPr/>
          </p:nvSpPr>
          <p:spPr>
            <a:xfrm>
              <a:off x="6471175" y="1156275"/>
              <a:ext cx="122373" cy="128248"/>
            </a:xfrm>
            <a:prstGeom prst="flowChartConnector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style>
            <a:lnRef idx="2">
              <a:schemeClr val="accent3">
                <a:shade val="15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ID"/>
            </a:p>
          </p:txBody>
        </p: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A3C648F8-FDA7-A077-22FE-C27766735422}"/>
              </a:ext>
            </a:extLst>
          </p:cNvPr>
          <p:cNvGrpSpPr/>
          <p:nvPr/>
        </p:nvGrpSpPr>
        <p:grpSpPr>
          <a:xfrm>
            <a:off x="0" y="-6002"/>
            <a:ext cx="1439008" cy="463236"/>
            <a:chOff x="93023" y="-6002"/>
            <a:chExt cx="1439008" cy="463236"/>
          </a:xfrm>
        </p:grpSpPr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9B48CA8B-E4FD-AE88-912E-BA147EE286EA}"/>
                </a:ext>
              </a:extLst>
            </p:cNvPr>
            <p:cNvGrpSpPr/>
            <p:nvPr/>
          </p:nvGrpSpPr>
          <p:grpSpPr>
            <a:xfrm>
              <a:off x="93023" y="-6002"/>
              <a:ext cx="1439008" cy="463236"/>
              <a:chOff x="6171866" y="126174"/>
              <a:chExt cx="1126238" cy="369332"/>
            </a:xfrm>
          </p:grpSpPr>
          <p:pic>
            <p:nvPicPr>
              <p:cNvPr id="54" name="Picture 53">
                <a:extLst>
                  <a:ext uri="{FF2B5EF4-FFF2-40B4-BE49-F238E27FC236}">
                    <a16:creationId xmlns:a16="http://schemas.microsoft.com/office/drawing/2014/main" id="{E7219CD2-C9E0-CCD4-4FD8-3317E16C0E60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74148" b="84200"/>
              <a:stretch/>
            </p:blipFill>
            <p:spPr>
              <a:xfrm flipH="1">
                <a:off x="6171866" y="126174"/>
                <a:ext cx="1126238" cy="369332"/>
              </a:xfrm>
              <a:prstGeom prst="rect">
                <a:avLst/>
              </a:prstGeom>
              <a:effectLst>
                <a:outerShdw blurRad="50800" dist="38100" dir="8100000" algn="tr" rotWithShape="0">
                  <a:prstClr val="black">
                    <a:alpha val="40000"/>
                  </a:prstClr>
                </a:outerShdw>
              </a:effectLst>
            </p:spPr>
          </p:pic>
          <p:sp>
            <p:nvSpPr>
              <p:cNvPr id="55" name="Rectangle 54">
                <a:extLst>
                  <a:ext uri="{FF2B5EF4-FFF2-40B4-BE49-F238E27FC236}">
                    <a16:creationId xmlns:a16="http://schemas.microsoft.com/office/drawing/2014/main" id="{62613EB2-255E-19B6-E87C-84A60F0DA5B8}"/>
                  </a:ext>
                </a:extLst>
              </p:cNvPr>
              <p:cNvSpPr/>
              <p:nvPr/>
            </p:nvSpPr>
            <p:spPr>
              <a:xfrm>
                <a:off x="6271117" y="143647"/>
                <a:ext cx="771525" cy="23857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/>
              </a:p>
            </p:txBody>
          </p:sp>
        </p:grpSp>
        <p:pic>
          <p:nvPicPr>
            <p:cNvPr id="53" name="Picture 52" descr="A black background with a black square&#10;&#10;AI-generated content may be incorrect.">
              <a:extLst>
                <a:ext uri="{FF2B5EF4-FFF2-40B4-BE49-F238E27FC236}">
                  <a16:creationId xmlns:a16="http://schemas.microsoft.com/office/drawing/2014/main" id="{4F5E1455-72FB-176E-4878-B7185622D13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9837" y="48823"/>
              <a:ext cx="934769" cy="233412"/>
            </a:xfrm>
            <a:prstGeom prst="rect">
              <a:avLst/>
            </a:prstGeom>
          </p:spPr>
        </p:pic>
      </p:grp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7DABCC3C-2D31-D97D-FFA9-F95A259ABBA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80832286"/>
              </p:ext>
            </p:extLst>
          </p:nvPr>
        </p:nvGraphicFramePr>
        <p:xfrm>
          <a:off x="126814" y="1008956"/>
          <a:ext cx="10975194" cy="2134127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393083">
                  <a:extLst>
                    <a:ext uri="{9D8B030D-6E8A-4147-A177-3AD203B41FA5}">
                      <a16:colId xmlns:a16="http://schemas.microsoft.com/office/drawing/2014/main" val="992486216"/>
                    </a:ext>
                  </a:extLst>
                </a:gridCol>
                <a:gridCol w="2045849">
                  <a:extLst>
                    <a:ext uri="{9D8B030D-6E8A-4147-A177-3AD203B41FA5}">
                      <a16:colId xmlns:a16="http://schemas.microsoft.com/office/drawing/2014/main" val="1759280300"/>
                    </a:ext>
                  </a:extLst>
                </a:gridCol>
                <a:gridCol w="1219466">
                  <a:extLst>
                    <a:ext uri="{9D8B030D-6E8A-4147-A177-3AD203B41FA5}">
                      <a16:colId xmlns:a16="http://schemas.microsoft.com/office/drawing/2014/main" val="2135629759"/>
                    </a:ext>
                  </a:extLst>
                </a:gridCol>
                <a:gridCol w="1219466">
                  <a:extLst>
                    <a:ext uri="{9D8B030D-6E8A-4147-A177-3AD203B41FA5}">
                      <a16:colId xmlns:a16="http://schemas.microsoft.com/office/drawing/2014/main" val="3267066956"/>
                    </a:ext>
                  </a:extLst>
                </a:gridCol>
                <a:gridCol w="1219466">
                  <a:extLst>
                    <a:ext uri="{9D8B030D-6E8A-4147-A177-3AD203B41FA5}">
                      <a16:colId xmlns:a16="http://schemas.microsoft.com/office/drawing/2014/main" val="1902357590"/>
                    </a:ext>
                  </a:extLst>
                </a:gridCol>
                <a:gridCol w="1219466">
                  <a:extLst>
                    <a:ext uri="{9D8B030D-6E8A-4147-A177-3AD203B41FA5}">
                      <a16:colId xmlns:a16="http://schemas.microsoft.com/office/drawing/2014/main" val="2840269774"/>
                    </a:ext>
                  </a:extLst>
                </a:gridCol>
                <a:gridCol w="1219466">
                  <a:extLst>
                    <a:ext uri="{9D8B030D-6E8A-4147-A177-3AD203B41FA5}">
                      <a16:colId xmlns:a16="http://schemas.microsoft.com/office/drawing/2014/main" val="633099214"/>
                    </a:ext>
                  </a:extLst>
                </a:gridCol>
                <a:gridCol w="1219466">
                  <a:extLst>
                    <a:ext uri="{9D8B030D-6E8A-4147-A177-3AD203B41FA5}">
                      <a16:colId xmlns:a16="http://schemas.microsoft.com/office/drawing/2014/main" val="2126492049"/>
                    </a:ext>
                  </a:extLst>
                </a:gridCol>
                <a:gridCol w="1219466">
                  <a:extLst>
                    <a:ext uri="{9D8B030D-6E8A-4147-A177-3AD203B41FA5}">
                      <a16:colId xmlns:a16="http://schemas.microsoft.com/office/drawing/2014/main" val="3756549267"/>
                    </a:ext>
                  </a:extLst>
                </a:gridCol>
              </a:tblGrid>
              <a:tr h="357518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D" sz="1000" b="1" dirty="0"/>
                        <a:t>No</a:t>
                      </a:r>
                      <a:endParaRPr lang="en-ID" sz="1000" b="1" dirty="0">
                        <a:latin typeface="Aptos Narrow" panose="020B0004020202020204" pitchFamily="34" charset="0"/>
                      </a:endParaRPr>
                    </a:p>
                  </a:txBody>
                  <a:tcPr marL="50597" marR="50597" marT="25298" marB="25298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D" sz="1000" b="1" dirty="0" err="1"/>
                        <a:t>Kegiatan</a:t>
                      </a:r>
                      <a:endParaRPr lang="en-ID" sz="1000" b="1" dirty="0">
                        <a:latin typeface="Aptos Narrow" panose="020B0004020202020204" pitchFamily="34" charset="0"/>
                      </a:endParaRPr>
                    </a:p>
                  </a:txBody>
                  <a:tcPr marL="50597" marR="50597" marT="25298" marB="25298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D" sz="1000" b="1" dirty="0"/>
                        <a:t>Nov 2024</a:t>
                      </a:r>
                      <a:endParaRPr lang="en-ID" sz="1000" b="1" dirty="0">
                        <a:latin typeface="Aptos Narrow" panose="020B0004020202020204" pitchFamily="34" charset="0"/>
                      </a:endParaRPr>
                    </a:p>
                  </a:txBody>
                  <a:tcPr marL="50597" marR="50597" marT="25298" marB="25298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D" sz="1000" b="1" dirty="0"/>
                        <a:t>Des 2024</a:t>
                      </a:r>
                      <a:endParaRPr lang="en-ID" sz="1000" b="1" dirty="0">
                        <a:latin typeface="Aptos Narrow" panose="020B0004020202020204" pitchFamily="34" charset="0"/>
                      </a:endParaRPr>
                    </a:p>
                  </a:txBody>
                  <a:tcPr marL="50597" marR="50597" marT="25298" marB="25298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D" sz="1000" b="1" dirty="0"/>
                        <a:t>Jan 2025</a:t>
                      </a:r>
                      <a:endParaRPr lang="en-ID" sz="1000" b="1" dirty="0">
                        <a:latin typeface="Aptos Narrow" panose="020B0004020202020204" pitchFamily="34" charset="0"/>
                      </a:endParaRPr>
                    </a:p>
                  </a:txBody>
                  <a:tcPr marL="50597" marR="50597" marT="25298" marB="25298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D" sz="1000" b="1" dirty="0"/>
                        <a:t>Feb 2025</a:t>
                      </a:r>
                      <a:endParaRPr lang="en-ID" sz="1000" b="1" dirty="0">
                        <a:latin typeface="Aptos Narrow" panose="020B0004020202020204" pitchFamily="34" charset="0"/>
                      </a:endParaRPr>
                    </a:p>
                  </a:txBody>
                  <a:tcPr marL="50597" marR="50597" marT="25298" marB="25298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D" sz="1000" b="1" dirty="0"/>
                        <a:t>Mar 2025</a:t>
                      </a:r>
                      <a:endParaRPr lang="en-ID" sz="1000" b="1" dirty="0">
                        <a:latin typeface="Aptos Narrow" panose="020B0004020202020204" pitchFamily="34" charset="0"/>
                      </a:endParaRPr>
                    </a:p>
                  </a:txBody>
                  <a:tcPr marL="50597" marR="50597" marT="25298" marB="25298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D" sz="1000" b="1" dirty="0"/>
                        <a:t>Apr 2025</a:t>
                      </a:r>
                      <a:endParaRPr lang="en-ID" sz="1000" b="1" dirty="0">
                        <a:latin typeface="Aptos Narrow" panose="020B0004020202020204" pitchFamily="34" charset="0"/>
                      </a:endParaRPr>
                    </a:p>
                  </a:txBody>
                  <a:tcPr marL="50597" marR="50597" marT="25298" marB="25298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D" sz="1000" b="1" dirty="0"/>
                        <a:t>Mei 2025</a:t>
                      </a:r>
                      <a:endParaRPr lang="en-ID" sz="1000" b="1" dirty="0">
                        <a:latin typeface="Aptos Narrow" panose="020B0004020202020204" pitchFamily="34" charset="0"/>
                      </a:endParaRPr>
                    </a:p>
                  </a:txBody>
                  <a:tcPr marL="50597" marR="50597" marT="25298" marB="25298" anchor="ctr"/>
                </a:tc>
                <a:extLst>
                  <a:ext uri="{0D108BD9-81ED-4DB2-BD59-A6C34878D82A}">
                    <a16:rowId xmlns:a16="http://schemas.microsoft.com/office/drawing/2014/main" val="53166989"/>
                  </a:ext>
                </a:extLst>
              </a:tr>
              <a:tr h="302635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D" sz="1000"/>
                        <a:t>1</a:t>
                      </a:r>
                      <a:endParaRPr lang="en-ID" sz="1000">
                        <a:latin typeface="Aptos Narrow" panose="020B0004020202020204" pitchFamily="34" charset="0"/>
                      </a:endParaRPr>
                    </a:p>
                  </a:txBody>
                  <a:tcPr marL="50597" marR="50597" marT="25298" marB="25298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D" sz="1000" dirty="0"/>
                        <a:t>Analisa </a:t>
                      </a:r>
                      <a:r>
                        <a:rPr lang="en-ID" sz="1000" dirty="0" err="1"/>
                        <a:t>kebutuhan</a:t>
                      </a:r>
                      <a:r>
                        <a:rPr lang="en-ID" sz="1000" dirty="0"/>
                        <a:t> &amp; </a:t>
                      </a:r>
                      <a:r>
                        <a:rPr lang="en-ID" sz="1000" dirty="0" err="1"/>
                        <a:t>perencanaan</a:t>
                      </a:r>
                      <a:endParaRPr lang="en-ID" sz="1000" dirty="0">
                        <a:latin typeface="Aptos Narrow" panose="020B0004020202020204" pitchFamily="34" charset="0"/>
                      </a:endParaRPr>
                    </a:p>
                  </a:txBody>
                  <a:tcPr marL="50597" marR="50597" marT="25298" marB="25298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D" sz="1000" dirty="0"/>
                        <a:t>████████████ </a:t>
                      </a:r>
                      <a:endParaRPr lang="en-ID" sz="1000" dirty="0">
                        <a:latin typeface="Aptos Narrow" panose="020B0004020202020204" pitchFamily="34" charset="0"/>
                      </a:endParaRPr>
                    </a:p>
                  </a:txBody>
                  <a:tcPr marL="50597" marR="50597" marT="25298" marB="25298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D" sz="1000" dirty="0"/>
                        <a:t>████████████</a:t>
                      </a:r>
                      <a:endParaRPr lang="en-ID" sz="1000" dirty="0">
                        <a:latin typeface="Aptos Narrow" panose="020B0004020202020204" pitchFamily="34" charset="0"/>
                      </a:endParaRPr>
                    </a:p>
                  </a:txBody>
                  <a:tcPr marL="50597" marR="50597" marT="25298" marB="25298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ID" sz="1000" dirty="0">
                        <a:latin typeface="Aptos Narrow" panose="020B0004020202020204" pitchFamily="34" charset="0"/>
                      </a:endParaRPr>
                    </a:p>
                  </a:txBody>
                  <a:tcPr marL="50597" marR="50597" marT="25298" marB="25298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ID" sz="1000">
                        <a:latin typeface="Aptos Narrow" panose="020B0004020202020204" pitchFamily="34" charset="0"/>
                      </a:endParaRPr>
                    </a:p>
                  </a:txBody>
                  <a:tcPr marL="50597" marR="50597" marT="25298" marB="25298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ID" sz="1000">
                        <a:latin typeface="Aptos Narrow" panose="020B0004020202020204" pitchFamily="34" charset="0"/>
                      </a:endParaRPr>
                    </a:p>
                  </a:txBody>
                  <a:tcPr marL="50597" marR="50597" marT="25298" marB="25298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ID" sz="1000">
                        <a:latin typeface="Aptos Narrow" panose="020B0004020202020204" pitchFamily="34" charset="0"/>
                      </a:endParaRPr>
                    </a:p>
                  </a:txBody>
                  <a:tcPr marL="50597" marR="50597" marT="25298" marB="25298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ID" sz="1000">
                        <a:latin typeface="Aptos Narrow" panose="020B0004020202020204" pitchFamily="34" charset="0"/>
                      </a:endParaRPr>
                    </a:p>
                  </a:txBody>
                  <a:tcPr marL="50597" marR="50597" marT="25298" marB="25298" anchor="ctr"/>
                </a:tc>
                <a:extLst>
                  <a:ext uri="{0D108BD9-81ED-4DB2-BD59-A6C34878D82A}">
                    <a16:rowId xmlns:a16="http://schemas.microsoft.com/office/drawing/2014/main" val="2382392825"/>
                  </a:ext>
                </a:extLst>
              </a:tr>
              <a:tr h="245891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D" sz="1000"/>
                        <a:t>2</a:t>
                      </a:r>
                      <a:endParaRPr lang="en-ID" sz="1000">
                        <a:latin typeface="Aptos Narrow" panose="020B0004020202020204" pitchFamily="34" charset="0"/>
                      </a:endParaRPr>
                    </a:p>
                  </a:txBody>
                  <a:tcPr marL="50597" marR="50597" marT="25298" marB="25298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D" sz="1000" dirty="0"/>
                        <a:t>Setup server &amp; </a:t>
                      </a:r>
                      <a:r>
                        <a:rPr lang="en-ID" sz="1000" dirty="0" err="1"/>
                        <a:t>instalasi</a:t>
                      </a:r>
                      <a:r>
                        <a:rPr lang="en-ID" sz="1000" dirty="0"/>
                        <a:t> IDMS</a:t>
                      </a:r>
                      <a:endParaRPr lang="en-ID" sz="1000" dirty="0">
                        <a:latin typeface="Aptos Narrow" panose="020B0004020202020204" pitchFamily="34" charset="0"/>
                      </a:endParaRPr>
                    </a:p>
                  </a:txBody>
                  <a:tcPr marL="50597" marR="50597" marT="25298" marB="25298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ID" sz="1000">
                        <a:latin typeface="Aptos Narrow" panose="020B0004020202020204" pitchFamily="34" charset="0"/>
                      </a:endParaRPr>
                    </a:p>
                  </a:txBody>
                  <a:tcPr marL="50597" marR="50597" marT="25298" marB="25298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ID" sz="1000">
                        <a:latin typeface="Aptos Narrow" panose="020B0004020202020204" pitchFamily="34" charset="0"/>
                      </a:endParaRPr>
                    </a:p>
                  </a:txBody>
                  <a:tcPr marL="50597" marR="50597" marT="25298" marB="25298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D" sz="1000" dirty="0"/>
                        <a:t>████████████</a:t>
                      </a:r>
                      <a:endParaRPr lang="en-ID" sz="1000" dirty="0">
                        <a:latin typeface="Aptos Narrow" panose="020B0004020202020204" pitchFamily="34" charset="0"/>
                      </a:endParaRPr>
                    </a:p>
                  </a:txBody>
                  <a:tcPr marL="50597" marR="50597" marT="25298" marB="25298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ID" sz="1000" dirty="0">
                        <a:latin typeface="Aptos Narrow" panose="020B0004020202020204" pitchFamily="34" charset="0"/>
                      </a:endParaRPr>
                    </a:p>
                  </a:txBody>
                  <a:tcPr marL="50597" marR="50597" marT="25298" marB="25298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ID" sz="1000">
                        <a:latin typeface="Aptos Narrow" panose="020B0004020202020204" pitchFamily="34" charset="0"/>
                      </a:endParaRPr>
                    </a:p>
                  </a:txBody>
                  <a:tcPr marL="50597" marR="50597" marT="25298" marB="25298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ID" sz="1000">
                        <a:latin typeface="Aptos Narrow" panose="020B0004020202020204" pitchFamily="34" charset="0"/>
                      </a:endParaRPr>
                    </a:p>
                  </a:txBody>
                  <a:tcPr marL="50597" marR="50597" marT="25298" marB="25298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ID" sz="1000">
                        <a:latin typeface="Aptos Narrow" panose="020B0004020202020204" pitchFamily="34" charset="0"/>
                      </a:endParaRPr>
                    </a:p>
                  </a:txBody>
                  <a:tcPr marL="50597" marR="50597" marT="25298" marB="25298" anchor="ctr"/>
                </a:tc>
                <a:extLst>
                  <a:ext uri="{0D108BD9-81ED-4DB2-BD59-A6C34878D82A}">
                    <a16:rowId xmlns:a16="http://schemas.microsoft.com/office/drawing/2014/main" val="2658975820"/>
                  </a:ext>
                </a:extLst>
              </a:tr>
              <a:tr h="245548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D" sz="1000"/>
                        <a:t>3</a:t>
                      </a:r>
                      <a:endParaRPr lang="en-ID" sz="1000">
                        <a:latin typeface="Aptos Narrow" panose="020B0004020202020204" pitchFamily="34" charset="0"/>
                      </a:endParaRPr>
                    </a:p>
                  </a:txBody>
                  <a:tcPr marL="50597" marR="50597" marT="25298" marB="25298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D" sz="1000" dirty="0" err="1"/>
                        <a:t>Migrasi</a:t>
                      </a:r>
                      <a:r>
                        <a:rPr lang="en-ID" sz="1000" dirty="0"/>
                        <a:t> &amp; </a:t>
                      </a:r>
                      <a:r>
                        <a:rPr lang="en-ID" sz="1000" dirty="0" err="1"/>
                        <a:t>penataan</a:t>
                      </a:r>
                      <a:r>
                        <a:rPr lang="en-ID" sz="1000" dirty="0"/>
                        <a:t> data</a:t>
                      </a:r>
                      <a:endParaRPr lang="en-ID" sz="1000" dirty="0">
                        <a:latin typeface="Aptos Narrow" panose="020B0004020202020204" pitchFamily="34" charset="0"/>
                      </a:endParaRPr>
                    </a:p>
                  </a:txBody>
                  <a:tcPr marL="50597" marR="50597" marT="25298" marB="25298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ID" sz="1000">
                        <a:latin typeface="Aptos Narrow" panose="020B0004020202020204" pitchFamily="34" charset="0"/>
                      </a:endParaRPr>
                    </a:p>
                  </a:txBody>
                  <a:tcPr marL="50597" marR="50597" marT="25298" marB="25298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ID" sz="1000">
                        <a:latin typeface="Aptos Narrow" panose="020B0004020202020204" pitchFamily="34" charset="0"/>
                      </a:endParaRPr>
                    </a:p>
                  </a:txBody>
                  <a:tcPr marL="50597" marR="50597" marT="25298" marB="25298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ID" sz="1000">
                        <a:latin typeface="Aptos Narrow" panose="020B0004020202020204" pitchFamily="34" charset="0"/>
                      </a:endParaRPr>
                    </a:p>
                  </a:txBody>
                  <a:tcPr marL="50597" marR="50597" marT="25298" marB="25298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D" sz="1000" dirty="0"/>
                        <a:t>████████████</a:t>
                      </a:r>
                      <a:endParaRPr lang="en-ID" sz="1000" dirty="0">
                        <a:latin typeface="Aptos Narrow" panose="020B0004020202020204" pitchFamily="34" charset="0"/>
                      </a:endParaRPr>
                    </a:p>
                  </a:txBody>
                  <a:tcPr marL="50597" marR="50597" marT="25298" marB="25298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D" sz="1000" dirty="0"/>
                        <a:t>████████████</a:t>
                      </a:r>
                      <a:endParaRPr lang="en-ID" sz="1000" dirty="0">
                        <a:latin typeface="Aptos Narrow" panose="020B0004020202020204" pitchFamily="34" charset="0"/>
                      </a:endParaRPr>
                    </a:p>
                  </a:txBody>
                  <a:tcPr marL="50597" marR="50597" marT="25298" marB="25298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ID" sz="1000">
                        <a:latin typeface="Aptos Narrow" panose="020B0004020202020204" pitchFamily="34" charset="0"/>
                      </a:endParaRPr>
                    </a:p>
                  </a:txBody>
                  <a:tcPr marL="50597" marR="50597" marT="25298" marB="25298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ID" sz="1000">
                        <a:latin typeface="Aptos Narrow" panose="020B0004020202020204" pitchFamily="34" charset="0"/>
                      </a:endParaRPr>
                    </a:p>
                  </a:txBody>
                  <a:tcPr marL="50597" marR="50597" marT="25298" marB="25298" anchor="ctr"/>
                </a:tc>
                <a:extLst>
                  <a:ext uri="{0D108BD9-81ED-4DB2-BD59-A6C34878D82A}">
                    <a16:rowId xmlns:a16="http://schemas.microsoft.com/office/drawing/2014/main" val="3499371219"/>
                  </a:ext>
                </a:extLst>
              </a:tr>
              <a:tr h="245548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D" sz="1000"/>
                        <a:t>4</a:t>
                      </a:r>
                      <a:endParaRPr lang="en-ID" sz="1000">
                        <a:latin typeface="Aptos Narrow" panose="020B0004020202020204" pitchFamily="34" charset="0"/>
                      </a:endParaRPr>
                    </a:p>
                  </a:txBody>
                  <a:tcPr marL="50597" marR="50597" marT="25298" marB="25298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D" sz="1000" dirty="0"/>
                        <a:t>Audit trail &amp; </a:t>
                      </a:r>
                      <a:r>
                        <a:rPr lang="en-ID" sz="1000" dirty="0" err="1"/>
                        <a:t>autentikasi</a:t>
                      </a:r>
                      <a:endParaRPr lang="en-ID" sz="1000" dirty="0">
                        <a:latin typeface="Aptos Narrow" panose="020B0004020202020204" pitchFamily="34" charset="0"/>
                      </a:endParaRPr>
                    </a:p>
                  </a:txBody>
                  <a:tcPr marL="50597" marR="50597" marT="25298" marB="25298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ID" sz="1000" dirty="0">
                        <a:latin typeface="Aptos Narrow" panose="020B0004020202020204" pitchFamily="34" charset="0"/>
                      </a:endParaRPr>
                    </a:p>
                  </a:txBody>
                  <a:tcPr marL="50597" marR="50597" marT="25298" marB="25298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ID" sz="1000" dirty="0">
                        <a:latin typeface="Aptos Narrow" panose="020B0004020202020204" pitchFamily="34" charset="0"/>
                      </a:endParaRPr>
                    </a:p>
                  </a:txBody>
                  <a:tcPr marL="50597" marR="50597" marT="25298" marB="25298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ID" sz="1000">
                        <a:latin typeface="Aptos Narrow" panose="020B0004020202020204" pitchFamily="34" charset="0"/>
                      </a:endParaRPr>
                    </a:p>
                  </a:txBody>
                  <a:tcPr marL="50597" marR="50597" marT="25298" marB="25298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ID" sz="1000">
                        <a:latin typeface="Aptos Narrow" panose="020B0004020202020204" pitchFamily="34" charset="0"/>
                      </a:endParaRPr>
                    </a:p>
                  </a:txBody>
                  <a:tcPr marL="50597" marR="50597" marT="25298" marB="25298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D" sz="1000" dirty="0"/>
                        <a:t>████████████</a:t>
                      </a:r>
                      <a:endParaRPr lang="en-ID" sz="1000" dirty="0">
                        <a:latin typeface="Aptos Narrow" panose="020B0004020202020204" pitchFamily="34" charset="0"/>
                      </a:endParaRPr>
                    </a:p>
                  </a:txBody>
                  <a:tcPr marL="50597" marR="50597" marT="25298" marB="25298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ID" sz="1000" dirty="0">
                        <a:latin typeface="Aptos Narrow" panose="020B0004020202020204" pitchFamily="34" charset="0"/>
                      </a:endParaRPr>
                    </a:p>
                  </a:txBody>
                  <a:tcPr marL="50597" marR="50597" marT="25298" marB="25298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ID" sz="1000">
                        <a:latin typeface="Aptos Narrow" panose="020B0004020202020204" pitchFamily="34" charset="0"/>
                      </a:endParaRPr>
                    </a:p>
                  </a:txBody>
                  <a:tcPr marL="50597" marR="50597" marT="25298" marB="25298" anchor="ctr"/>
                </a:tc>
                <a:extLst>
                  <a:ext uri="{0D108BD9-81ED-4DB2-BD59-A6C34878D82A}">
                    <a16:rowId xmlns:a16="http://schemas.microsoft.com/office/drawing/2014/main" val="2778656468"/>
                  </a:ext>
                </a:extLst>
              </a:tr>
              <a:tr h="245891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D" sz="1000"/>
                        <a:t>5</a:t>
                      </a:r>
                      <a:endParaRPr lang="en-ID" sz="1000">
                        <a:latin typeface="Aptos Narrow" panose="020B0004020202020204" pitchFamily="34" charset="0"/>
                      </a:endParaRPr>
                    </a:p>
                  </a:txBody>
                  <a:tcPr marL="50597" marR="50597" marT="25298" marB="25298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D" sz="1000" dirty="0" err="1"/>
                        <a:t>Pelatihan</a:t>
                      </a:r>
                      <a:r>
                        <a:rPr lang="en-ID" sz="1000" dirty="0"/>
                        <a:t> user &amp; </a:t>
                      </a:r>
                      <a:r>
                        <a:rPr lang="en-ID" sz="1000" dirty="0" err="1"/>
                        <a:t>pembuatan</a:t>
                      </a:r>
                      <a:r>
                        <a:rPr lang="en-ID" sz="1000" dirty="0"/>
                        <a:t> SOP</a:t>
                      </a:r>
                      <a:endParaRPr lang="en-ID" sz="1000" dirty="0">
                        <a:latin typeface="Aptos Narrow" panose="020B0004020202020204" pitchFamily="34" charset="0"/>
                      </a:endParaRPr>
                    </a:p>
                  </a:txBody>
                  <a:tcPr marL="50597" marR="50597" marT="25298" marB="25298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ID" sz="1000">
                        <a:latin typeface="Aptos Narrow" panose="020B0004020202020204" pitchFamily="34" charset="0"/>
                      </a:endParaRPr>
                    </a:p>
                  </a:txBody>
                  <a:tcPr marL="50597" marR="50597" marT="25298" marB="25298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ID" sz="1000" dirty="0">
                        <a:latin typeface="Aptos Narrow" panose="020B0004020202020204" pitchFamily="34" charset="0"/>
                      </a:endParaRPr>
                    </a:p>
                  </a:txBody>
                  <a:tcPr marL="50597" marR="50597" marT="25298" marB="25298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ID" sz="1000" dirty="0">
                        <a:latin typeface="Aptos Narrow" panose="020B0004020202020204" pitchFamily="34" charset="0"/>
                      </a:endParaRPr>
                    </a:p>
                  </a:txBody>
                  <a:tcPr marL="50597" marR="50597" marT="25298" marB="25298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ID" sz="1000" dirty="0">
                        <a:latin typeface="Aptos Narrow" panose="020B0004020202020204" pitchFamily="34" charset="0"/>
                      </a:endParaRPr>
                    </a:p>
                  </a:txBody>
                  <a:tcPr marL="50597" marR="50597" marT="25298" marB="25298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ID" sz="1000" dirty="0">
                        <a:latin typeface="Aptos Narrow" panose="020B0004020202020204" pitchFamily="34" charset="0"/>
                      </a:endParaRPr>
                    </a:p>
                  </a:txBody>
                  <a:tcPr marL="50597" marR="50597" marT="25298" marB="25298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D" sz="1000" dirty="0"/>
                        <a:t>████████████</a:t>
                      </a:r>
                      <a:endParaRPr lang="en-ID" sz="1000" dirty="0">
                        <a:latin typeface="Aptos Narrow" panose="020B0004020202020204" pitchFamily="34" charset="0"/>
                      </a:endParaRPr>
                    </a:p>
                  </a:txBody>
                  <a:tcPr marL="50597" marR="50597" marT="25298" marB="25298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ID" sz="1000">
                        <a:latin typeface="Aptos Narrow" panose="020B0004020202020204" pitchFamily="34" charset="0"/>
                      </a:endParaRPr>
                    </a:p>
                  </a:txBody>
                  <a:tcPr marL="50597" marR="50597" marT="25298" marB="25298" anchor="ctr"/>
                </a:tc>
                <a:extLst>
                  <a:ext uri="{0D108BD9-81ED-4DB2-BD59-A6C34878D82A}">
                    <a16:rowId xmlns:a16="http://schemas.microsoft.com/office/drawing/2014/main" val="315906255"/>
                  </a:ext>
                </a:extLst>
              </a:tr>
              <a:tr h="245548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D" sz="1000"/>
                        <a:t>6</a:t>
                      </a:r>
                      <a:endParaRPr lang="en-ID" sz="1000">
                        <a:latin typeface="Aptos Narrow" panose="020B0004020202020204" pitchFamily="34" charset="0"/>
                      </a:endParaRPr>
                    </a:p>
                  </a:txBody>
                  <a:tcPr marL="50597" marR="50597" marT="25298" marB="25298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D" sz="1000" dirty="0"/>
                        <a:t>Uji </a:t>
                      </a:r>
                      <a:r>
                        <a:rPr lang="en-ID" sz="1000" dirty="0" err="1"/>
                        <a:t>coba</a:t>
                      </a:r>
                      <a:r>
                        <a:rPr lang="en-ID" sz="1000" dirty="0"/>
                        <a:t> &amp; </a:t>
                      </a:r>
                      <a:r>
                        <a:rPr lang="en-ID" sz="1000" dirty="0" err="1"/>
                        <a:t>perbaikan</a:t>
                      </a:r>
                      <a:r>
                        <a:rPr lang="en-ID" sz="1000" dirty="0"/>
                        <a:t> bug</a:t>
                      </a:r>
                      <a:endParaRPr lang="en-ID" sz="1000" dirty="0">
                        <a:latin typeface="Aptos Narrow" panose="020B0004020202020204" pitchFamily="34" charset="0"/>
                      </a:endParaRPr>
                    </a:p>
                  </a:txBody>
                  <a:tcPr marL="50597" marR="50597" marT="25298" marB="25298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ID" sz="1000" dirty="0">
                        <a:latin typeface="Aptos Narrow" panose="020B0004020202020204" pitchFamily="34" charset="0"/>
                      </a:endParaRPr>
                    </a:p>
                  </a:txBody>
                  <a:tcPr marL="50597" marR="50597" marT="25298" marB="25298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ID" sz="1000" dirty="0">
                        <a:latin typeface="Aptos Narrow" panose="020B0004020202020204" pitchFamily="34" charset="0"/>
                      </a:endParaRPr>
                    </a:p>
                  </a:txBody>
                  <a:tcPr marL="50597" marR="50597" marT="25298" marB="25298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ID" sz="1000" dirty="0">
                        <a:latin typeface="Aptos Narrow" panose="020B0004020202020204" pitchFamily="34" charset="0"/>
                      </a:endParaRPr>
                    </a:p>
                  </a:txBody>
                  <a:tcPr marL="50597" marR="50597" marT="25298" marB="25298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ID" sz="1000" dirty="0">
                        <a:latin typeface="Aptos Narrow" panose="020B0004020202020204" pitchFamily="34" charset="0"/>
                      </a:endParaRPr>
                    </a:p>
                  </a:txBody>
                  <a:tcPr marL="50597" marR="50597" marT="25298" marB="25298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ID" sz="1000" dirty="0">
                        <a:latin typeface="Aptos Narrow" panose="020B0004020202020204" pitchFamily="34" charset="0"/>
                      </a:endParaRPr>
                    </a:p>
                  </a:txBody>
                  <a:tcPr marL="50597" marR="50597" marT="25298" marB="25298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D" sz="1000" dirty="0"/>
                        <a:t>████████████</a:t>
                      </a:r>
                      <a:endParaRPr lang="en-ID" sz="1000" dirty="0">
                        <a:latin typeface="Aptos Narrow" panose="020B0004020202020204" pitchFamily="34" charset="0"/>
                      </a:endParaRPr>
                    </a:p>
                  </a:txBody>
                  <a:tcPr marL="50597" marR="50597" marT="25298" marB="25298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ID" sz="1000">
                        <a:latin typeface="Aptos Narrow" panose="020B0004020202020204" pitchFamily="34" charset="0"/>
                      </a:endParaRPr>
                    </a:p>
                  </a:txBody>
                  <a:tcPr marL="50597" marR="50597" marT="25298" marB="25298" anchor="ctr"/>
                </a:tc>
                <a:extLst>
                  <a:ext uri="{0D108BD9-81ED-4DB2-BD59-A6C34878D82A}">
                    <a16:rowId xmlns:a16="http://schemas.microsoft.com/office/drawing/2014/main" val="3093441705"/>
                  </a:ext>
                </a:extLst>
              </a:tr>
              <a:tr h="245548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D" sz="1000"/>
                        <a:t>7</a:t>
                      </a:r>
                      <a:endParaRPr lang="en-ID" sz="1000">
                        <a:latin typeface="Aptos Narrow" panose="020B0004020202020204" pitchFamily="34" charset="0"/>
                      </a:endParaRPr>
                    </a:p>
                  </a:txBody>
                  <a:tcPr marL="50597" marR="50597" marT="25298" marB="25298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D" sz="1000" dirty="0" err="1"/>
                        <a:t>Implementasi</a:t>
                      </a:r>
                      <a:r>
                        <a:rPr lang="en-ID" sz="1000" dirty="0"/>
                        <a:t> </a:t>
                      </a:r>
                      <a:r>
                        <a:rPr lang="en-ID" sz="1000" dirty="0" err="1"/>
                        <a:t>penuh</a:t>
                      </a:r>
                      <a:r>
                        <a:rPr lang="en-ID" sz="1000" dirty="0"/>
                        <a:t> &amp; </a:t>
                      </a:r>
                      <a:r>
                        <a:rPr lang="en-ID" sz="1000" dirty="0" err="1"/>
                        <a:t>evaluasi</a:t>
                      </a:r>
                      <a:endParaRPr lang="en-ID" sz="1000" dirty="0">
                        <a:latin typeface="Aptos Narrow" panose="020B0004020202020204" pitchFamily="34" charset="0"/>
                      </a:endParaRPr>
                    </a:p>
                  </a:txBody>
                  <a:tcPr marL="50597" marR="50597" marT="25298" marB="25298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ID" sz="1000" dirty="0">
                        <a:latin typeface="Aptos Narrow" panose="020B0004020202020204" pitchFamily="34" charset="0"/>
                      </a:endParaRPr>
                    </a:p>
                  </a:txBody>
                  <a:tcPr marL="50597" marR="50597" marT="25298" marB="25298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ID" sz="1000">
                        <a:latin typeface="Aptos Narrow" panose="020B0004020202020204" pitchFamily="34" charset="0"/>
                      </a:endParaRPr>
                    </a:p>
                  </a:txBody>
                  <a:tcPr marL="50597" marR="50597" marT="25298" marB="25298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ID" sz="1000" dirty="0">
                        <a:latin typeface="Aptos Narrow" panose="020B0004020202020204" pitchFamily="34" charset="0"/>
                      </a:endParaRPr>
                    </a:p>
                  </a:txBody>
                  <a:tcPr marL="50597" marR="50597" marT="25298" marB="25298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ID" sz="1000">
                        <a:latin typeface="Aptos Narrow" panose="020B0004020202020204" pitchFamily="34" charset="0"/>
                      </a:endParaRPr>
                    </a:p>
                  </a:txBody>
                  <a:tcPr marL="50597" marR="50597" marT="25298" marB="25298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ID" sz="1000" dirty="0">
                        <a:latin typeface="Aptos Narrow" panose="020B0004020202020204" pitchFamily="34" charset="0"/>
                      </a:endParaRPr>
                    </a:p>
                  </a:txBody>
                  <a:tcPr marL="50597" marR="50597" marT="25298" marB="25298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ID" sz="1000" dirty="0">
                        <a:latin typeface="Aptos Narrow" panose="020B0004020202020204" pitchFamily="34" charset="0"/>
                      </a:endParaRPr>
                    </a:p>
                  </a:txBody>
                  <a:tcPr marL="50597" marR="50597" marT="25298" marB="25298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D" sz="1000" dirty="0"/>
                        <a:t>████████████</a:t>
                      </a:r>
                      <a:endParaRPr lang="en-ID" sz="1000" dirty="0">
                        <a:latin typeface="Aptos Narrow" panose="020B0004020202020204" pitchFamily="34" charset="0"/>
                      </a:endParaRPr>
                    </a:p>
                  </a:txBody>
                  <a:tcPr marL="50597" marR="50597" marT="25298" marB="25298" anchor="ctr"/>
                </a:tc>
                <a:extLst>
                  <a:ext uri="{0D108BD9-81ED-4DB2-BD59-A6C34878D82A}">
                    <a16:rowId xmlns:a16="http://schemas.microsoft.com/office/drawing/2014/main" val="941869414"/>
                  </a:ext>
                </a:extLst>
              </a:tr>
            </a:tbl>
          </a:graphicData>
        </a:graphic>
      </p:graphicFrame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A799D0BC-E1CF-F592-E3CD-CBD635FFE07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06183950"/>
              </p:ext>
            </p:extLst>
          </p:nvPr>
        </p:nvGraphicFramePr>
        <p:xfrm>
          <a:off x="147201" y="3571489"/>
          <a:ext cx="10734158" cy="2936372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372543">
                  <a:extLst>
                    <a:ext uri="{9D8B030D-6E8A-4147-A177-3AD203B41FA5}">
                      <a16:colId xmlns:a16="http://schemas.microsoft.com/office/drawing/2014/main" val="4134927230"/>
                    </a:ext>
                  </a:extLst>
                </a:gridCol>
                <a:gridCol w="1450891">
                  <a:extLst>
                    <a:ext uri="{9D8B030D-6E8A-4147-A177-3AD203B41FA5}">
                      <a16:colId xmlns:a16="http://schemas.microsoft.com/office/drawing/2014/main" val="1700879637"/>
                    </a:ext>
                  </a:extLst>
                </a:gridCol>
                <a:gridCol w="1365489">
                  <a:extLst>
                    <a:ext uri="{9D8B030D-6E8A-4147-A177-3AD203B41FA5}">
                      <a16:colId xmlns:a16="http://schemas.microsoft.com/office/drawing/2014/main" val="3686369993"/>
                    </a:ext>
                  </a:extLst>
                </a:gridCol>
                <a:gridCol w="732072">
                  <a:extLst>
                    <a:ext uri="{9D8B030D-6E8A-4147-A177-3AD203B41FA5}">
                      <a16:colId xmlns:a16="http://schemas.microsoft.com/office/drawing/2014/main" val="3163046249"/>
                    </a:ext>
                  </a:extLst>
                </a:gridCol>
                <a:gridCol w="1117999">
                  <a:extLst>
                    <a:ext uri="{9D8B030D-6E8A-4147-A177-3AD203B41FA5}">
                      <a16:colId xmlns:a16="http://schemas.microsoft.com/office/drawing/2014/main" val="946785516"/>
                    </a:ext>
                  </a:extLst>
                </a:gridCol>
                <a:gridCol w="1117999">
                  <a:extLst>
                    <a:ext uri="{9D8B030D-6E8A-4147-A177-3AD203B41FA5}">
                      <a16:colId xmlns:a16="http://schemas.microsoft.com/office/drawing/2014/main" val="3709213428"/>
                    </a:ext>
                  </a:extLst>
                </a:gridCol>
                <a:gridCol w="1117999">
                  <a:extLst>
                    <a:ext uri="{9D8B030D-6E8A-4147-A177-3AD203B41FA5}">
                      <a16:colId xmlns:a16="http://schemas.microsoft.com/office/drawing/2014/main" val="907513707"/>
                    </a:ext>
                  </a:extLst>
                </a:gridCol>
                <a:gridCol w="292646">
                  <a:extLst>
                    <a:ext uri="{9D8B030D-6E8A-4147-A177-3AD203B41FA5}">
                      <a16:colId xmlns:a16="http://schemas.microsoft.com/office/drawing/2014/main" val="506820285"/>
                    </a:ext>
                  </a:extLst>
                </a:gridCol>
                <a:gridCol w="292646">
                  <a:extLst>
                    <a:ext uri="{9D8B030D-6E8A-4147-A177-3AD203B41FA5}">
                      <a16:colId xmlns:a16="http://schemas.microsoft.com/office/drawing/2014/main" val="3714386900"/>
                    </a:ext>
                  </a:extLst>
                </a:gridCol>
                <a:gridCol w="292646">
                  <a:extLst>
                    <a:ext uri="{9D8B030D-6E8A-4147-A177-3AD203B41FA5}">
                      <a16:colId xmlns:a16="http://schemas.microsoft.com/office/drawing/2014/main" val="1988874456"/>
                    </a:ext>
                  </a:extLst>
                </a:gridCol>
                <a:gridCol w="1117999">
                  <a:extLst>
                    <a:ext uri="{9D8B030D-6E8A-4147-A177-3AD203B41FA5}">
                      <a16:colId xmlns:a16="http://schemas.microsoft.com/office/drawing/2014/main" val="3650665296"/>
                    </a:ext>
                  </a:extLst>
                </a:gridCol>
                <a:gridCol w="585291">
                  <a:extLst>
                    <a:ext uri="{9D8B030D-6E8A-4147-A177-3AD203B41FA5}">
                      <a16:colId xmlns:a16="http://schemas.microsoft.com/office/drawing/2014/main" val="592435829"/>
                    </a:ext>
                  </a:extLst>
                </a:gridCol>
                <a:gridCol w="292646">
                  <a:extLst>
                    <a:ext uri="{9D8B030D-6E8A-4147-A177-3AD203B41FA5}">
                      <a16:colId xmlns:a16="http://schemas.microsoft.com/office/drawing/2014/main" val="1175846032"/>
                    </a:ext>
                  </a:extLst>
                </a:gridCol>
                <a:gridCol w="292646">
                  <a:extLst>
                    <a:ext uri="{9D8B030D-6E8A-4147-A177-3AD203B41FA5}">
                      <a16:colId xmlns:a16="http://schemas.microsoft.com/office/drawing/2014/main" val="633767325"/>
                    </a:ext>
                  </a:extLst>
                </a:gridCol>
                <a:gridCol w="292646">
                  <a:extLst>
                    <a:ext uri="{9D8B030D-6E8A-4147-A177-3AD203B41FA5}">
                      <a16:colId xmlns:a16="http://schemas.microsoft.com/office/drawing/2014/main" val="3300852041"/>
                    </a:ext>
                  </a:extLst>
                </a:gridCol>
              </a:tblGrid>
              <a:tr h="184953">
                <a:tc rowSpan="2"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ID" sz="1000" u="none" strike="noStrike" dirty="0">
                          <a:effectLst/>
                          <a:latin typeface="Aptos Narrow" panose="020B0004020202020204" pitchFamily="34" charset="0"/>
                        </a:rPr>
                        <a:t>No</a:t>
                      </a:r>
                      <a:endParaRPr lang="en-ID" sz="10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282" marR="7282" marT="7282" marB="0" anchor="ctr"/>
                </a:tc>
                <a:tc rowSpan="2"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ID" sz="1000" u="none" strike="noStrike" dirty="0" err="1">
                          <a:effectLst/>
                          <a:latin typeface="Aptos Narrow" panose="020B0004020202020204" pitchFamily="34" charset="0"/>
                        </a:rPr>
                        <a:t>Kejadian</a:t>
                      </a:r>
                      <a:r>
                        <a:rPr lang="en-ID" sz="1000" u="none" strike="noStrike" dirty="0">
                          <a:effectLst/>
                          <a:latin typeface="Aptos Narrow" panose="020B0004020202020204" pitchFamily="34" charset="0"/>
                        </a:rPr>
                        <a:t> </a:t>
                      </a:r>
                      <a:r>
                        <a:rPr lang="en-ID" sz="1000" u="none" strike="noStrike" dirty="0" err="1">
                          <a:effectLst/>
                          <a:latin typeface="Aptos Narrow" panose="020B0004020202020204" pitchFamily="34" charset="0"/>
                        </a:rPr>
                        <a:t>Risiko</a:t>
                      </a:r>
                      <a:r>
                        <a:rPr lang="en-ID" sz="1000" u="none" strike="noStrike" dirty="0">
                          <a:effectLst/>
                          <a:latin typeface="Aptos Narrow" panose="020B0004020202020204" pitchFamily="34" charset="0"/>
                        </a:rPr>
                        <a:t> (Risk Event)</a:t>
                      </a:r>
                      <a:endParaRPr lang="en-ID" sz="10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282" marR="7282" marT="7282" marB="0" anchor="ctr"/>
                </a:tc>
                <a:tc rowSpan="2"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ID" sz="1000" u="none" strike="noStrike">
                          <a:effectLst/>
                          <a:latin typeface="Aptos Narrow" panose="020B0004020202020204" pitchFamily="34" charset="0"/>
                        </a:rPr>
                        <a:t>Penyebab Risiko (Risk Cause)</a:t>
                      </a:r>
                      <a:endParaRPr lang="en-ID" sz="10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282" marR="7282" marT="7282" marB="0" anchor="ctr"/>
                </a:tc>
                <a:tc rowSpan="2"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ID" sz="1000" u="none" strike="noStrike">
                          <a:effectLst/>
                          <a:latin typeface="Aptos Narrow" panose="020B0004020202020204" pitchFamily="34" charset="0"/>
                        </a:rPr>
                        <a:t>Jenis Risiko (Risk Category)</a:t>
                      </a:r>
                      <a:endParaRPr lang="en-ID" sz="10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282" marR="7282" marT="7282" marB="0" anchor="ctr"/>
                </a:tc>
                <a:tc rowSpan="2"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ID" sz="1000" u="none" strike="noStrike" dirty="0" err="1">
                          <a:effectLst/>
                          <a:latin typeface="Aptos Narrow" panose="020B0004020202020204" pitchFamily="34" charset="0"/>
                        </a:rPr>
                        <a:t>Gejala</a:t>
                      </a:r>
                      <a:r>
                        <a:rPr lang="en-ID" sz="1000" u="none" strike="noStrike" dirty="0">
                          <a:effectLst/>
                          <a:latin typeface="Aptos Narrow" panose="020B0004020202020204" pitchFamily="34" charset="0"/>
                        </a:rPr>
                        <a:t> </a:t>
                      </a:r>
                      <a:r>
                        <a:rPr lang="en-ID" sz="1000" u="none" strike="noStrike" dirty="0" err="1">
                          <a:effectLst/>
                          <a:latin typeface="Aptos Narrow" panose="020B0004020202020204" pitchFamily="34" charset="0"/>
                        </a:rPr>
                        <a:t>Risiko</a:t>
                      </a:r>
                      <a:r>
                        <a:rPr lang="en-ID" sz="1000" u="none" strike="noStrike" dirty="0">
                          <a:effectLst/>
                          <a:latin typeface="Aptos Narrow" panose="020B0004020202020204" pitchFamily="34" charset="0"/>
                        </a:rPr>
                        <a:t> (Risk Indicator)</a:t>
                      </a:r>
                      <a:endParaRPr lang="en-ID" sz="10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282" marR="7282" marT="7282" marB="0" anchor="ctr"/>
                </a:tc>
                <a:tc rowSpan="2"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ID" sz="1000" u="none" strike="noStrike">
                          <a:effectLst/>
                          <a:latin typeface="Aptos Narrow" panose="020B0004020202020204" pitchFamily="34" charset="0"/>
                        </a:rPr>
                        <a:t>Faktor Positif (Existing Control)</a:t>
                      </a:r>
                      <a:endParaRPr lang="en-ID" sz="10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282" marR="7282" marT="7282" marB="0" anchor="ctr"/>
                </a:tc>
                <a:tc gridSpan="4"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ID" sz="900" u="none" strike="noStrike">
                          <a:effectLst/>
                          <a:latin typeface="Aptos Narrow" panose="020B0004020202020204" pitchFamily="34" charset="0"/>
                        </a:rPr>
                        <a:t>Inherent Risk</a:t>
                      </a:r>
                      <a:endParaRPr lang="en-ID" sz="9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282" marR="7282" marT="7282" marB="0" anchor="ctr"/>
                </a:tc>
                <a:tc h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ID" sz="1000" u="none" strike="noStrike">
                          <a:effectLst/>
                          <a:latin typeface="Aptos Narrow" panose="020B0004020202020204" pitchFamily="34" charset="0"/>
                        </a:rPr>
                        <a:t>Risk Treatment Activity</a:t>
                      </a:r>
                      <a:endParaRPr lang="en-ID" sz="10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282" marR="7282" marT="7282" marB="0" anchor="ctr"/>
                </a:tc>
                <a:tc rowSpan="2"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ID" sz="1000" u="none" strike="noStrike" dirty="0">
                          <a:effectLst/>
                          <a:latin typeface="Aptos Narrow" panose="020B0004020202020204" pitchFamily="34" charset="0"/>
                        </a:rPr>
                        <a:t>PIC</a:t>
                      </a:r>
                      <a:endParaRPr lang="en-ID" sz="10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282" marR="7282" marT="7282" marB="0" anchor="ctr"/>
                </a:tc>
                <a:tc gridSpan="3"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ID" sz="900" u="none" strike="noStrike">
                          <a:effectLst/>
                          <a:latin typeface="Aptos Narrow" panose="020B0004020202020204" pitchFamily="34" charset="0"/>
                        </a:rPr>
                        <a:t>Residual Risk</a:t>
                      </a:r>
                      <a:endParaRPr lang="en-ID" sz="9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282" marR="7282" marT="7282" marB="0" anchor="ctr"/>
                </a:tc>
                <a:tc h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13327042"/>
                  </a:ext>
                </a:extLst>
              </a:tr>
              <a:tr h="359482">
                <a:tc v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ID" sz="1000" u="none" strike="noStrike">
                          <a:effectLst/>
                          <a:latin typeface="Aptos Narrow" panose="020B0004020202020204" pitchFamily="34" charset="0"/>
                        </a:rPr>
                        <a:t>Dampak Kualitatif (Impact Description)</a:t>
                      </a:r>
                      <a:endParaRPr lang="en-ID" sz="10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282" marR="7282" marT="7282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ID" sz="1000" u="none" strike="noStrike">
                          <a:effectLst/>
                          <a:latin typeface="Aptos Narrow" panose="020B0004020202020204" pitchFamily="34" charset="0"/>
                        </a:rPr>
                        <a:t>I</a:t>
                      </a:r>
                      <a:endParaRPr lang="en-ID" sz="10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282" marR="7282" marT="7282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ID" sz="1000" u="none" strike="noStrike">
                          <a:effectLst/>
                          <a:latin typeface="Aptos Narrow" panose="020B0004020202020204" pitchFamily="34" charset="0"/>
                        </a:rPr>
                        <a:t>P</a:t>
                      </a:r>
                      <a:endParaRPr lang="en-ID" sz="10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282" marR="7282" marT="7282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ID" sz="1000" u="none" strike="noStrike">
                          <a:effectLst/>
                          <a:latin typeface="Aptos Narrow" panose="020B0004020202020204" pitchFamily="34" charset="0"/>
                        </a:rPr>
                        <a:t>RPN</a:t>
                      </a:r>
                      <a:endParaRPr lang="en-ID" sz="10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282" marR="7282" marT="7282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ID" sz="1000" u="none" strike="noStrike">
                          <a:effectLst/>
                          <a:latin typeface="Aptos Narrow" panose="020B0004020202020204" pitchFamily="34" charset="0"/>
                        </a:rPr>
                        <a:t>I</a:t>
                      </a:r>
                      <a:endParaRPr lang="en-ID" sz="10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282" marR="7282" marT="7282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ID" sz="1000" u="none" strike="noStrike">
                          <a:effectLst/>
                          <a:latin typeface="Aptos Narrow" panose="020B0004020202020204" pitchFamily="34" charset="0"/>
                        </a:rPr>
                        <a:t>P</a:t>
                      </a:r>
                      <a:endParaRPr lang="en-ID" sz="10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282" marR="7282" marT="7282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ID" sz="1000" u="none" strike="noStrike">
                          <a:effectLst/>
                          <a:latin typeface="Aptos Narrow" panose="020B0004020202020204" pitchFamily="34" charset="0"/>
                        </a:rPr>
                        <a:t>RPN</a:t>
                      </a:r>
                      <a:endParaRPr lang="en-ID" sz="10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282" marR="7282" marT="7282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1899583"/>
                  </a:ext>
                </a:extLst>
              </a:tr>
              <a:tr h="534009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ID" sz="1000" u="none" strike="noStrike"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282" marR="7282" marT="7282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D" sz="1000" u="none" strike="noStrike" dirty="0">
                          <a:effectLst/>
                          <a:latin typeface="Aptos Narrow" panose="020B0004020202020204" pitchFamily="34" charset="0"/>
                        </a:rPr>
                        <a:t>Data IDMS </a:t>
                      </a:r>
                      <a:r>
                        <a:rPr lang="en-ID" sz="1000" u="none" strike="noStrike" dirty="0" err="1">
                          <a:effectLst/>
                          <a:latin typeface="Aptos Narrow" panose="020B0004020202020204" pitchFamily="34" charset="0"/>
                        </a:rPr>
                        <a:t>belum</a:t>
                      </a:r>
                      <a:r>
                        <a:rPr lang="en-ID" sz="1000" u="none" strike="noStrike" dirty="0">
                          <a:effectLst/>
                          <a:latin typeface="Aptos Narrow" panose="020B0004020202020204" pitchFamily="34" charset="0"/>
                        </a:rPr>
                        <a:t> </a:t>
                      </a:r>
                      <a:r>
                        <a:rPr lang="en-ID" sz="1000" u="none" strike="noStrike" dirty="0" err="1">
                          <a:effectLst/>
                          <a:latin typeface="Aptos Narrow" panose="020B0004020202020204" pitchFamily="34" charset="0"/>
                        </a:rPr>
                        <a:t>sepenuhnya</a:t>
                      </a:r>
                      <a:r>
                        <a:rPr lang="en-ID" sz="1000" u="none" strike="noStrike" dirty="0">
                          <a:effectLst/>
                          <a:latin typeface="Aptos Narrow" panose="020B0004020202020204" pitchFamily="34" charset="0"/>
                        </a:rPr>
                        <a:t> real-time</a:t>
                      </a:r>
                      <a:endParaRPr lang="en-ID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282" marR="7282" marT="7282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D" sz="1000" u="none" strike="noStrike" dirty="0">
                          <a:effectLst/>
                          <a:latin typeface="Aptos Narrow" panose="020B0004020202020204" pitchFamily="34" charset="0"/>
                        </a:rPr>
                        <a:t>Integrasi </a:t>
                      </a:r>
                      <a:r>
                        <a:rPr lang="en-ID" sz="1000" u="none" strike="noStrike" dirty="0" err="1">
                          <a:effectLst/>
                          <a:latin typeface="Aptos Narrow" panose="020B0004020202020204" pitchFamily="34" charset="0"/>
                        </a:rPr>
                        <a:t>sistem</a:t>
                      </a:r>
                      <a:r>
                        <a:rPr lang="en-ID" sz="1000" u="none" strike="noStrike" dirty="0">
                          <a:effectLst/>
                          <a:latin typeface="Aptos Narrow" panose="020B0004020202020204" pitchFamily="34" charset="0"/>
                        </a:rPr>
                        <a:t> </a:t>
                      </a:r>
                      <a:r>
                        <a:rPr lang="en-ID" sz="1000" u="none" strike="noStrike" dirty="0" err="1">
                          <a:effectLst/>
                          <a:latin typeface="Aptos Narrow" panose="020B0004020202020204" pitchFamily="34" charset="0"/>
                        </a:rPr>
                        <a:t>belum</a:t>
                      </a:r>
                      <a:r>
                        <a:rPr lang="en-ID" sz="1000" u="none" strike="noStrike" dirty="0">
                          <a:effectLst/>
                          <a:latin typeface="Aptos Narrow" panose="020B0004020202020204" pitchFamily="34" charset="0"/>
                        </a:rPr>
                        <a:t> </a:t>
                      </a:r>
                      <a:r>
                        <a:rPr lang="en-ID" sz="1000" u="none" strike="noStrike" dirty="0" err="1">
                          <a:effectLst/>
                          <a:latin typeface="Aptos Narrow" panose="020B0004020202020204" pitchFamily="34" charset="0"/>
                        </a:rPr>
                        <a:t>selesai</a:t>
                      </a:r>
                      <a:endParaRPr lang="en-ID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282" marR="7282" marT="7282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D" sz="1000" u="none" strike="noStrike">
                          <a:effectLst/>
                          <a:latin typeface="Aptos Narrow" panose="020B0004020202020204" pitchFamily="34" charset="0"/>
                        </a:rPr>
                        <a:t>Quality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282" marR="7282" marT="7282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D" sz="1000" u="none" strike="noStrike" dirty="0" err="1">
                          <a:effectLst/>
                          <a:latin typeface="Aptos Narrow" panose="020B0004020202020204" pitchFamily="34" charset="0"/>
                        </a:rPr>
                        <a:t>Laporan</a:t>
                      </a:r>
                      <a:r>
                        <a:rPr lang="en-ID" sz="1000" u="none" strike="noStrike" dirty="0">
                          <a:effectLst/>
                          <a:latin typeface="Aptos Narrow" panose="020B0004020202020204" pitchFamily="34" charset="0"/>
                        </a:rPr>
                        <a:t> </a:t>
                      </a:r>
                      <a:r>
                        <a:rPr lang="en-ID" sz="1000" u="none" strike="noStrike" dirty="0" err="1">
                          <a:effectLst/>
                          <a:latin typeface="Aptos Narrow" panose="020B0004020202020204" pitchFamily="34" charset="0"/>
                        </a:rPr>
                        <a:t>lambat</a:t>
                      </a:r>
                      <a:r>
                        <a:rPr lang="en-ID" sz="1000" u="none" strike="noStrike" dirty="0">
                          <a:effectLst/>
                          <a:latin typeface="Aptos Narrow" panose="020B0004020202020204" pitchFamily="34" charset="0"/>
                        </a:rPr>
                        <a:t>, data </a:t>
                      </a:r>
                      <a:r>
                        <a:rPr lang="en-ID" sz="1000" u="none" strike="noStrike" dirty="0" err="1">
                          <a:effectLst/>
                          <a:latin typeface="Aptos Narrow" panose="020B0004020202020204" pitchFamily="34" charset="0"/>
                        </a:rPr>
                        <a:t>tidak</a:t>
                      </a:r>
                      <a:r>
                        <a:rPr lang="en-ID" sz="1000" u="none" strike="noStrike" dirty="0">
                          <a:effectLst/>
                          <a:latin typeface="Aptos Narrow" panose="020B0004020202020204" pitchFamily="34" charset="0"/>
                        </a:rPr>
                        <a:t> update </a:t>
                      </a:r>
                      <a:r>
                        <a:rPr lang="en-ID" sz="1000" u="none" strike="noStrike" dirty="0" err="1">
                          <a:effectLst/>
                          <a:latin typeface="Aptos Narrow" panose="020B0004020202020204" pitchFamily="34" charset="0"/>
                        </a:rPr>
                        <a:t>otomatis</a:t>
                      </a:r>
                      <a:endParaRPr lang="en-ID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282" marR="7282" marT="7282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D" sz="1000" u="none" strike="noStrike" dirty="0">
                          <a:effectLst/>
                          <a:latin typeface="Aptos Narrow" panose="020B0004020202020204" pitchFamily="34" charset="0"/>
                        </a:rPr>
                        <a:t>IDMS </a:t>
                      </a:r>
                      <a:r>
                        <a:rPr lang="en-ID" sz="1000" u="none" strike="noStrike" dirty="0" err="1">
                          <a:effectLst/>
                          <a:latin typeface="Aptos Narrow" panose="020B0004020202020204" pitchFamily="34" charset="0"/>
                        </a:rPr>
                        <a:t>sudah</a:t>
                      </a:r>
                      <a:r>
                        <a:rPr lang="en-ID" sz="1000" u="none" strike="noStrike" dirty="0">
                          <a:effectLst/>
                          <a:latin typeface="Aptos Narrow" panose="020B0004020202020204" pitchFamily="34" charset="0"/>
                        </a:rPr>
                        <a:t> </a:t>
                      </a:r>
                      <a:r>
                        <a:rPr lang="en-ID" sz="1000" u="none" strike="noStrike" dirty="0" err="1">
                          <a:effectLst/>
                          <a:latin typeface="Aptos Narrow" panose="020B0004020202020204" pitchFamily="34" charset="0"/>
                        </a:rPr>
                        <a:t>ada</a:t>
                      </a:r>
                      <a:r>
                        <a:rPr lang="en-ID" sz="1000" u="none" strike="noStrike" dirty="0">
                          <a:effectLst/>
                          <a:latin typeface="Aptos Narrow" panose="020B0004020202020204" pitchFamily="34" charset="0"/>
                        </a:rPr>
                        <a:t> </a:t>
                      </a:r>
                      <a:r>
                        <a:rPr lang="en-ID" sz="1000" u="none" strike="noStrike" dirty="0" err="1">
                          <a:effectLst/>
                          <a:latin typeface="Aptos Narrow" panose="020B0004020202020204" pitchFamily="34" charset="0"/>
                        </a:rPr>
                        <a:t>tapi</a:t>
                      </a:r>
                      <a:r>
                        <a:rPr lang="en-ID" sz="1000" u="none" strike="noStrike" dirty="0">
                          <a:effectLst/>
                          <a:latin typeface="Aptos Narrow" panose="020B0004020202020204" pitchFamily="34" charset="0"/>
                        </a:rPr>
                        <a:t> </a:t>
                      </a:r>
                      <a:r>
                        <a:rPr lang="en-ID" sz="1000" u="none" strike="noStrike" dirty="0" err="1">
                          <a:effectLst/>
                          <a:latin typeface="Aptos Narrow" panose="020B0004020202020204" pitchFamily="34" charset="0"/>
                        </a:rPr>
                        <a:t>belum</a:t>
                      </a:r>
                      <a:r>
                        <a:rPr lang="en-ID" sz="1000" u="none" strike="noStrike" dirty="0">
                          <a:effectLst/>
                          <a:latin typeface="Aptos Narrow" panose="020B0004020202020204" pitchFamily="34" charset="0"/>
                        </a:rPr>
                        <a:t> auto-sync</a:t>
                      </a:r>
                      <a:endParaRPr lang="en-ID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282" marR="7282" marT="7282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D" sz="1000" u="none" strike="noStrike" dirty="0">
                          <a:effectLst/>
                          <a:latin typeface="Aptos Narrow" panose="020B0004020202020204" pitchFamily="34" charset="0"/>
                        </a:rPr>
                        <a:t>Keputusan </a:t>
                      </a:r>
                      <a:r>
                        <a:rPr lang="en-ID" sz="1000" u="none" strike="noStrike" dirty="0" err="1">
                          <a:effectLst/>
                          <a:latin typeface="Aptos Narrow" panose="020B0004020202020204" pitchFamily="34" charset="0"/>
                        </a:rPr>
                        <a:t>manajemen</a:t>
                      </a:r>
                      <a:r>
                        <a:rPr lang="en-ID" sz="1000" u="none" strike="noStrike" dirty="0">
                          <a:effectLst/>
                          <a:latin typeface="Aptos Narrow" panose="020B0004020202020204" pitchFamily="34" charset="0"/>
                        </a:rPr>
                        <a:t> </a:t>
                      </a:r>
                      <a:r>
                        <a:rPr lang="en-ID" sz="1000" u="none" strike="noStrike" dirty="0" err="1">
                          <a:effectLst/>
                          <a:latin typeface="Aptos Narrow" panose="020B0004020202020204" pitchFamily="34" charset="0"/>
                        </a:rPr>
                        <a:t>bisa</a:t>
                      </a:r>
                      <a:r>
                        <a:rPr lang="en-ID" sz="1000" u="none" strike="noStrike" dirty="0">
                          <a:effectLst/>
                          <a:latin typeface="Aptos Narrow" panose="020B0004020202020204" pitchFamily="34" charset="0"/>
                        </a:rPr>
                        <a:t> </a:t>
                      </a:r>
                      <a:r>
                        <a:rPr lang="en-ID" sz="1000" u="none" strike="noStrike" dirty="0" err="1">
                          <a:effectLst/>
                          <a:latin typeface="Aptos Narrow" panose="020B0004020202020204" pitchFamily="34" charset="0"/>
                        </a:rPr>
                        <a:t>terlambat</a:t>
                      </a:r>
                      <a:endParaRPr lang="en-ID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282" marR="7282" marT="7282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ID" sz="1000" u="none" strike="noStrike"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282" marR="7282" marT="7282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ID" sz="1000" u="none" strike="noStrike"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282" marR="7282" marT="7282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ID" sz="1000" u="none" strike="noStrike" dirty="0">
                          <a:effectLst/>
                          <a:latin typeface="Aptos Narrow" panose="020B0004020202020204" pitchFamily="34" charset="0"/>
                        </a:rPr>
                        <a:t>16</a:t>
                      </a:r>
                      <a:endParaRPr lang="en-ID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282" marR="7282" marT="7282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s-ES" sz="1000" u="none" strike="noStrike" dirty="0" err="1">
                          <a:effectLst/>
                          <a:latin typeface="Aptos Narrow" panose="020B0004020202020204" pitchFamily="34" charset="0"/>
                        </a:rPr>
                        <a:t>Integrasi</a:t>
                      </a:r>
                      <a:r>
                        <a:rPr lang="es-ES" sz="1000" u="none" strike="noStrike" dirty="0">
                          <a:effectLst/>
                          <a:latin typeface="Aptos Narrow" panose="020B0004020202020204" pitchFamily="34" charset="0"/>
                        </a:rPr>
                        <a:t> API real-time, </a:t>
                      </a:r>
                      <a:r>
                        <a:rPr lang="es-ES" sz="1000" u="none" strike="noStrike" dirty="0" err="1">
                          <a:effectLst/>
                          <a:latin typeface="Aptos Narrow" panose="020B0004020202020204" pitchFamily="34" charset="0"/>
                        </a:rPr>
                        <a:t>pengujian</a:t>
                      </a:r>
                      <a:r>
                        <a:rPr lang="es-ES" sz="1000" u="none" strike="noStrike" dirty="0">
                          <a:effectLst/>
                          <a:latin typeface="Aptos Narrow" panose="020B0004020202020204" pitchFamily="34" charset="0"/>
                        </a:rPr>
                        <a:t> dan </a:t>
                      </a:r>
                      <a:r>
                        <a:rPr lang="es-ES" sz="1000" u="none" strike="noStrike" dirty="0" err="1">
                          <a:effectLst/>
                          <a:latin typeface="Aptos Narrow" panose="020B0004020202020204" pitchFamily="34" charset="0"/>
                        </a:rPr>
                        <a:t>validasi</a:t>
                      </a:r>
                      <a:r>
                        <a:rPr lang="es-ES" sz="1000" u="none" strike="noStrike" dirty="0">
                          <a:effectLst/>
                          <a:latin typeface="Aptos Narrow" panose="020B0004020202020204" pitchFamily="34" charset="0"/>
                        </a:rPr>
                        <a:t> data</a:t>
                      </a:r>
                      <a:endParaRPr lang="es-E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282" marR="7282" marT="7282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D" sz="1000" u="none" strike="noStrike">
                          <a:effectLst/>
                          <a:latin typeface="Aptos Narrow" panose="020B0004020202020204" pitchFamily="34" charset="0"/>
                        </a:rPr>
                        <a:t>INSP, IT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282" marR="7282" marT="7282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ID" sz="1000" u="none" strike="noStrike"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282" marR="7282" marT="7282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ID" sz="1000" u="none" strike="noStrike"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282" marR="7282" marT="7282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ID" sz="1000" u="none" strike="noStrike"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282" marR="7282" marT="7282" marB="0" anchor="ctr"/>
                </a:tc>
                <a:extLst>
                  <a:ext uri="{0D108BD9-81ED-4DB2-BD59-A6C34878D82A}">
                    <a16:rowId xmlns:a16="http://schemas.microsoft.com/office/drawing/2014/main" val="2429316394"/>
                  </a:ext>
                </a:extLst>
              </a:tr>
              <a:tr h="444887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ID" sz="1000" u="none" strike="noStrike"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282" marR="7282" marT="7282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fi-FI" sz="1000" u="none" strike="noStrike">
                          <a:effectLst/>
                          <a:latin typeface="Aptos Narrow" panose="020B0004020202020204" pitchFamily="34" charset="0"/>
                        </a:rPr>
                        <a:t>Duplikasi data saat migrasi ke IDMS</a:t>
                      </a:r>
                      <a:endParaRPr lang="fi-FI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282" marR="7282" marT="7282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D" sz="1000" u="none" strike="noStrike" dirty="0" err="1">
                          <a:effectLst/>
                          <a:latin typeface="Aptos Narrow" panose="020B0004020202020204" pitchFamily="34" charset="0"/>
                        </a:rPr>
                        <a:t>Struktur</a:t>
                      </a:r>
                      <a:r>
                        <a:rPr lang="en-ID" sz="1000" u="none" strike="noStrike" dirty="0">
                          <a:effectLst/>
                          <a:latin typeface="Aptos Narrow" panose="020B0004020202020204" pitchFamily="34" charset="0"/>
                        </a:rPr>
                        <a:t> database </a:t>
                      </a:r>
                      <a:r>
                        <a:rPr lang="en-ID" sz="1000" u="none" strike="noStrike" dirty="0" err="1">
                          <a:effectLst/>
                          <a:latin typeface="Aptos Narrow" panose="020B0004020202020204" pitchFamily="34" charset="0"/>
                        </a:rPr>
                        <a:t>tidak</a:t>
                      </a:r>
                      <a:r>
                        <a:rPr lang="en-ID" sz="1000" u="none" strike="noStrike" dirty="0">
                          <a:effectLst/>
                          <a:latin typeface="Aptos Narrow" panose="020B0004020202020204" pitchFamily="34" charset="0"/>
                        </a:rPr>
                        <a:t> </a:t>
                      </a:r>
                      <a:r>
                        <a:rPr lang="en-ID" sz="1000" u="none" strike="noStrike" dirty="0" err="1">
                          <a:effectLst/>
                          <a:latin typeface="Aptos Narrow" panose="020B0004020202020204" pitchFamily="34" charset="0"/>
                        </a:rPr>
                        <a:t>seragam</a:t>
                      </a:r>
                      <a:endParaRPr lang="en-ID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282" marR="7282" marT="7282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D" sz="1000" u="none" strike="noStrike" dirty="0">
                          <a:effectLst/>
                          <a:latin typeface="Aptos Narrow" panose="020B0004020202020204" pitchFamily="34" charset="0"/>
                        </a:rPr>
                        <a:t>Cost</a:t>
                      </a:r>
                      <a:endParaRPr lang="en-ID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282" marR="7282" marT="7282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D" sz="1000" u="none" strike="noStrike" dirty="0">
                          <a:effectLst/>
                          <a:latin typeface="Aptos Narrow" panose="020B0004020202020204" pitchFamily="34" charset="0"/>
                        </a:rPr>
                        <a:t>Data </a:t>
                      </a:r>
                      <a:r>
                        <a:rPr lang="en-ID" sz="1000" u="none" strike="noStrike" dirty="0" err="1">
                          <a:effectLst/>
                          <a:latin typeface="Aptos Narrow" panose="020B0004020202020204" pitchFamily="34" charset="0"/>
                        </a:rPr>
                        <a:t>ganda</a:t>
                      </a:r>
                      <a:r>
                        <a:rPr lang="en-ID" sz="1000" u="none" strike="noStrike" dirty="0">
                          <a:effectLst/>
                          <a:latin typeface="Aptos Narrow" panose="020B0004020202020204" pitchFamily="34" charset="0"/>
                        </a:rPr>
                        <a:t> </a:t>
                      </a:r>
                      <a:r>
                        <a:rPr lang="en-ID" sz="1000" u="none" strike="noStrike" dirty="0" err="1">
                          <a:effectLst/>
                          <a:latin typeface="Aptos Narrow" panose="020B0004020202020204" pitchFamily="34" charset="0"/>
                        </a:rPr>
                        <a:t>ditemukan</a:t>
                      </a:r>
                      <a:r>
                        <a:rPr lang="en-ID" sz="1000" u="none" strike="noStrike" dirty="0">
                          <a:effectLst/>
                          <a:latin typeface="Aptos Narrow" panose="020B0004020202020204" pitchFamily="34" charset="0"/>
                        </a:rPr>
                        <a:t>, </a:t>
                      </a:r>
                      <a:r>
                        <a:rPr lang="en-ID" sz="1000" u="none" strike="noStrike" dirty="0" err="1">
                          <a:effectLst/>
                          <a:latin typeface="Aptos Narrow" panose="020B0004020202020204" pitchFamily="34" charset="0"/>
                        </a:rPr>
                        <a:t>kapasitas</a:t>
                      </a:r>
                      <a:r>
                        <a:rPr lang="en-ID" sz="1000" u="none" strike="noStrike" dirty="0">
                          <a:effectLst/>
                          <a:latin typeface="Aptos Narrow" panose="020B0004020202020204" pitchFamily="34" charset="0"/>
                        </a:rPr>
                        <a:t> storage naik</a:t>
                      </a:r>
                      <a:endParaRPr lang="en-ID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282" marR="7282" marT="7282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000" u="none" strike="noStrike">
                          <a:effectLst/>
                          <a:latin typeface="Aptos Narrow" panose="020B0004020202020204" pitchFamily="34" charset="0"/>
                        </a:rPr>
                        <a:t>Sudah ada shared folder lama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282" marR="7282" marT="7282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D" sz="1000" u="none" strike="noStrike">
                          <a:effectLst/>
                          <a:latin typeface="Aptos Narrow" panose="020B0004020202020204" pitchFamily="34" charset="0"/>
                        </a:rPr>
                        <a:t>Biaya maintenance dan storage meningkat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282" marR="7282" marT="7282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ID" sz="1000" u="none" strike="noStrike"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282" marR="7282" marT="7282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ID" sz="1000" u="none" strike="noStrike"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282" marR="7282" marT="7282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ID" sz="1000" u="none" strike="noStrike" dirty="0">
                          <a:effectLst/>
                          <a:latin typeface="Aptos Narrow" panose="020B0004020202020204" pitchFamily="34" charset="0"/>
                        </a:rPr>
                        <a:t>12</a:t>
                      </a:r>
                      <a:endParaRPr lang="en-ID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282" marR="7282" marT="7282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000" u="none" strike="noStrike" dirty="0" err="1">
                          <a:effectLst/>
                          <a:latin typeface="Aptos Narrow" panose="020B0004020202020204" pitchFamily="34" charset="0"/>
                        </a:rPr>
                        <a:t>Pembersihan</a:t>
                      </a:r>
                      <a:r>
                        <a:rPr lang="en-US" sz="1000" u="none" strike="noStrike" dirty="0">
                          <a:effectLst/>
                          <a:latin typeface="Aptos Narrow" panose="020B0004020202020204" pitchFamily="34" charset="0"/>
                        </a:rPr>
                        <a:t> data (data cleansing) </a:t>
                      </a:r>
                      <a:r>
                        <a:rPr lang="en-US" sz="1000" u="none" strike="noStrike" dirty="0" err="1">
                          <a:effectLst/>
                          <a:latin typeface="Aptos Narrow" panose="020B0004020202020204" pitchFamily="34" charset="0"/>
                        </a:rPr>
                        <a:t>sebelum</a:t>
                      </a:r>
                      <a:r>
                        <a:rPr lang="en-US" sz="1000" u="none" strike="noStrike" dirty="0">
                          <a:effectLst/>
                          <a:latin typeface="Aptos Narrow" panose="020B0004020202020204" pitchFamily="34" charset="0"/>
                        </a:rPr>
                        <a:t> </a:t>
                      </a:r>
                      <a:r>
                        <a:rPr lang="en-US" sz="1000" u="none" strike="noStrike" dirty="0" err="1">
                          <a:effectLst/>
                          <a:latin typeface="Aptos Narrow" panose="020B0004020202020204" pitchFamily="34" charset="0"/>
                        </a:rPr>
                        <a:t>migrasi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282" marR="7282" marT="7282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D" sz="1000" u="none" strike="noStrike">
                          <a:effectLst/>
                          <a:latin typeface="Aptos Narrow" panose="020B0004020202020204" pitchFamily="34" charset="0"/>
                        </a:rPr>
                        <a:t>IT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282" marR="7282" marT="7282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ID" sz="1000" u="none" strike="noStrike"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282" marR="7282" marT="7282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ID" sz="1000" u="none" strike="noStrike"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282" marR="7282" marT="7282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ID" sz="1000" u="none" strike="noStrike"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282" marR="7282" marT="7282" marB="0" anchor="ctr"/>
                </a:tc>
                <a:extLst>
                  <a:ext uri="{0D108BD9-81ED-4DB2-BD59-A6C34878D82A}">
                    <a16:rowId xmlns:a16="http://schemas.microsoft.com/office/drawing/2014/main" val="930407913"/>
                  </a:ext>
                </a:extLst>
              </a:tr>
              <a:tr h="444887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ID" sz="1000" u="none" strike="noStrike"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282" marR="7282" marT="7282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it-IT" sz="1000" u="none" strike="noStrike" dirty="0">
                          <a:effectLst/>
                          <a:latin typeface="Aptos Narrow" panose="020B0004020202020204" pitchFamily="34" charset="0"/>
                        </a:rPr>
                        <a:t>Pencarian data di IDMS tetap lambat</a:t>
                      </a:r>
                      <a:endParaRPr lang="it-IT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282" marR="7282" marT="7282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D" sz="1000" u="none" strike="noStrike" dirty="0">
                          <a:effectLst/>
                          <a:latin typeface="Aptos Narrow" panose="020B0004020202020204" pitchFamily="34" charset="0"/>
                        </a:rPr>
                        <a:t>Indexing dan tagging </a:t>
                      </a:r>
                      <a:r>
                        <a:rPr lang="en-ID" sz="1000" u="none" strike="noStrike" dirty="0" err="1">
                          <a:effectLst/>
                          <a:latin typeface="Aptos Narrow" panose="020B0004020202020204" pitchFamily="34" charset="0"/>
                        </a:rPr>
                        <a:t>tidak</a:t>
                      </a:r>
                      <a:r>
                        <a:rPr lang="en-ID" sz="1000" u="none" strike="noStrike" dirty="0">
                          <a:effectLst/>
                          <a:latin typeface="Aptos Narrow" panose="020B0004020202020204" pitchFamily="34" charset="0"/>
                        </a:rPr>
                        <a:t> optimal</a:t>
                      </a:r>
                      <a:endParaRPr lang="en-ID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282" marR="7282" marT="7282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D" sz="1000" u="none" strike="noStrike" dirty="0">
                          <a:effectLst/>
                          <a:latin typeface="Aptos Narrow" panose="020B0004020202020204" pitchFamily="34" charset="0"/>
                        </a:rPr>
                        <a:t>Delivery</a:t>
                      </a:r>
                      <a:endParaRPr lang="en-ID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282" marR="7282" marT="7282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it-IT" sz="1000" u="none" strike="noStrike" dirty="0">
                          <a:effectLst/>
                          <a:latin typeface="Aptos Narrow" panose="020B0004020202020204" pitchFamily="34" charset="0"/>
                        </a:rPr>
                        <a:t>User kesulitan cari data, laporan lambat</a:t>
                      </a:r>
                      <a:endParaRPr lang="it-IT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282" marR="7282" marT="7282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D" sz="1000" u="none" strike="noStrike" dirty="0">
                          <a:effectLst/>
                          <a:latin typeface="Aptos Narrow" panose="020B0004020202020204" pitchFamily="34" charset="0"/>
                        </a:rPr>
                        <a:t>Ada </a:t>
                      </a:r>
                      <a:r>
                        <a:rPr lang="en-ID" sz="1000" u="none" strike="noStrike" dirty="0" err="1">
                          <a:effectLst/>
                          <a:latin typeface="Aptos Narrow" panose="020B0004020202020204" pitchFamily="34" charset="0"/>
                        </a:rPr>
                        <a:t>fitur</a:t>
                      </a:r>
                      <a:r>
                        <a:rPr lang="en-ID" sz="1000" u="none" strike="noStrike" dirty="0">
                          <a:effectLst/>
                          <a:latin typeface="Aptos Narrow" panose="020B0004020202020204" pitchFamily="34" charset="0"/>
                        </a:rPr>
                        <a:t> </a:t>
                      </a:r>
                      <a:r>
                        <a:rPr lang="en-ID" sz="1000" u="none" strike="noStrike" dirty="0" err="1">
                          <a:effectLst/>
                          <a:latin typeface="Aptos Narrow" panose="020B0004020202020204" pitchFamily="34" charset="0"/>
                        </a:rPr>
                        <a:t>pencarian</a:t>
                      </a:r>
                      <a:r>
                        <a:rPr lang="en-ID" sz="1000" u="none" strike="noStrike" dirty="0">
                          <a:effectLst/>
                          <a:latin typeface="Aptos Narrow" panose="020B0004020202020204" pitchFamily="34" charset="0"/>
                        </a:rPr>
                        <a:t> manual</a:t>
                      </a:r>
                      <a:endParaRPr lang="en-ID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282" marR="7282" marT="7282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D" sz="1000" u="none" strike="noStrike" dirty="0">
                          <a:effectLst/>
                          <a:latin typeface="Aptos Narrow" panose="020B0004020202020204" pitchFamily="34" charset="0"/>
                        </a:rPr>
                        <a:t>SLA </a:t>
                      </a:r>
                      <a:r>
                        <a:rPr lang="en-ID" sz="1000" u="none" strike="noStrike" dirty="0" err="1">
                          <a:effectLst/>
                          <a:latin typeface="Aptos Narrow" panose="020B0004020202020204" pitchFamily="34" charset="0"/>
                        </a:rPr>
                        <a:t>pelaporan</a:t>
                      </a:r>
                      <a:r>
                        <a:rPr lang="en-ID" sz="1000" u="none" strike="noStrike" dirty="0">
                          <a:effectLst/>
                          <a:latin typeface="Aptos Narrow" panose="020B0004020202020204" pitchFamily="34" charset="0"/>
                        </a:rPr>
                        <a:t> </a:t>
                      </a:r>
                      <a:r>
                        <a:rPr lang="en-ID" sz="1000" u="none" strike="noStrike" dirty="0" err="1">
                          <a:effectLst/>
                          <a:latin typeface="Aptos Narrow" panose="020B0004020202020204" pitchFamily="34" charset="0"/>
                        </a:rPr>
                        <a:t>tidak</a:t>
                      </a:r>
                      <a:r>
                        <a:rPr lang="en-ID" sz="1000" u="none" strike="noStrike" dirty="0">
                          <a:effectLst/>
                          <a:latin typeface="Aptos Narrow" panose="020B0004020202020204" pitchFamily="34" charset="0"/>
                        </a:rPr>
                        <a:t> </a:t>
                      </a:r>
                      <a:r>
                        <a:rPr lang="en-ID" sz="1000" u="none" strike="noStrike" dirty="0" err="1">
                          <a:effectLst/>
                          <a:latin typeface="Aptos Narrow" panose="020B0004020202020204" pitchFamily="34" charset="0"/>
                        </a:rPr>
                        <a:t>tercapai</a:t>
                      </a:r>
                      <a:endParaRPr lang="en-ID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282" marR="7282" marT="7282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ID" sz="1000" u="none" strike="noStrike"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282" marR="7282" marT="7282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ID" sz="1000" u="none" strike="noStrike"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282" marR="7282" marT="7282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ID" sz="1000" u="none" strike="noStrike" dirty="0">
                          <a:effectLst/>
                          <a:latin typeface="Aptos Narrow" panose="020B0004020202020204" pitchFamily="34" charset="0"/>
                        </a:rPr>
                        <a:t>12</a:t>
                      </a:r>
                      <a:endParaRPr lang="en-ID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282" marR="7282" marT="7282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it-IT" sz="1000" u="none" strike="noStrike">
                          <a:effectLst/>
                          <a:latin typeface="Aptos Narrow" panose="020B0004020202020204" pitchFamily="34" charset="0"/>
                        </a:rPr>
                        <a:t>Implementasi auto-index dan metadata tagging</a:t>
                      </a:r>
                      <a:endParaRPr lang="it-IT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282" marR="7282" marT="7282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D" sz="1000" u="none" strike="noStrike">
                          <a:effectLst/>
                          <a:latin typeface="Aptos Narrow" panose="020B0004020202020204" pitchFamily="34" charset="0"/>
                        </a:rPr>
                        <a:t>INSP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282" marR="7282" marT="7282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ID" sz="1000" u="none" strike="noStrike"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282" marR="7282" marT="7282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ID" sz="1000" u="none" strike="noStrike"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282" marR="7282" marT="7282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ID" sz="1000" u="none" strike="noStrike"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282" marR="7282" marT="7282" marB="0" anchor="ctr"/>
                </a:tc>
                <a:extLst>
                  <a:ext uri="{0D108BD9-81ED-4DB2-BD59-A6C34878D82A}">
                    <a16:rowId xmlns:a16="http://schemas.microsoft.com/office/drawing/2014/main" val="2632718475"/>
                  </a:ext>
                </a:extLst>
              </a:tr>
              <a:tr h="359482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ID" sz="1000" u="none" strike="noStrike"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282" marR="7282" marT="7282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D" sz="1000" u="none" strike="noStrike" dirty="0" err="1">
                          <a:effectLst/>
                          <a:latin typeface="Aptos Narrow" panose="020B0004020202020204" pitchFamily="34" charset="0"/>
                        </a:rPr>
                        <a:t>Ancaman</a:t>
                      </a:r>
                      <a:r>
                        <a:rPr lang="en-ID" sz="1000" u="none" strike="noStrike" dirty="0">
                          <a:effectLst/>
                          <a:latin typeface="Aptos Narrow" panose="020B0004020202020204" pitchFamily="34" charset="0"/>
                        </a:rPr>
                        <a:t> </a:t>
                      </a:r>
                      <a:r>
                        <a:rPr lang="en-ID" sz="1000" u="none" strike="noStrike" dirty="0" err="1">
                          <a:effectLst/>
                          <a:latin typeface="Aptos Narrow" panose="020B0004020202020204" pitchFamily="34" charset="0"/>
                        </a:rPr>
                        <a:t>keamanan</a:t>
                      </a:r>
                      <a:r>
                        <a:rPr lang="en-ID" sz="1000" u="none" strike="noStrike" dirty="0">
                          <a:effectLst/>
                          <a:latin typeface="Aptos Narrow" panose="020B0004020202020204" pitchFamily="34" charset="0"/>
                        </a:rPr>
                        <a:t> data IDMS</a:t>
                      </a:r>
                      <a:endParaRPr lang="en-ID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282" marR="7282" marT="7282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D" sz="1000" u="none" strike="noStrike" dirty="0" err="1">
                          <a:effectLst/>
                          <a:latin typeface="Aptos Narrow" panose="020B0004020202020204" pitchFamily="34" charset="0"/>
                        </a:rPr>
                        <a:t>Proteksi</a:t>
                      </a:r>
                      <a:r>
                        <a:rPr lang="en-ID" sz="1000" u="none" strike="noStrike" dirty="0">
                          <a:effectLst/>
                          <a:latin typeface="Aptos Narrow" panose="020B0004020202020204" pitchFamily="34" charset="0"/>
                        </a:rPr>
                        <a:t> &amp; firewall </a:t>
                      </a:r>
                      <a:r>
                        <a:rPr lang="en-ID" sz="1000" u="none" strike="noStrike" dirty="0" err="1">
                          <a:effectLst/>
                          <a:latin typeface="Aptos Narrow" panose="020B0004020202020204" pitchFamily="34" charset="0"/>
                        </a:rPr>
                        <a:t>belum</a:t>
                      </a:r>
                      <a:r>
                        <a:rPr lang="en-ID" sz="1000" u="none" strike="noStrike" dirty="0">
                          <a:effectLst/>
                          <a:latin typeface="Aptos Narrow" panose="020B0004020202020204" pitchFamily="34" charset="0"/>
                        </a:rPr>
                        <a:t> </a:t>
                      </a:r>
                      <a:r>
                        <a:rPr lang="en-ID" sz="1000" u="none" strike="noStrike" dirty="0" err="1">
                          <a:effectLst/>
                          <a:latin typeface="Aptos Narrow" panose="020B0004020202020204" pitchFamily="34" charset="0"/>
                        </a:rPr>
                        <a:t>memadai</a:t>
                      </a:r>
                      <a:endParaRPr lang="en-ID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282" marR="7282" marT="7282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D" sz="1000" u="none" strike="noStrike">
                          <a:effectLst/>
                          <a:latin typeface="Aptos Narrow" panose="020B0004020202020204" pitchFamily="34" charset="0"/>
                        </a:rPr>
                        <a:t>Safety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282" marR="7282" marT="7282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D" sz="1000" u="none" strike="noStrike" dirty="0">
                          <a:effectLst/>
                          <a:latin typeface="Aptos Narrow" panose="020B0004020202020204" pitchFamily="34" charset="0"/>
                        </a:rPr>
                        <a:t>Akses </a:t>
                      </a:r>
                      <a:r>
                        <a:rPr lang="en-ID" sz="1000" u="none" strike="noStrike" dirty="0" err="1">
                          <a:effectLst/>
                          <a:latin typeface="Aptos Narrow" panose="020B0004020202020204" pitchFamily="34" charset="0"/>
                        </a:rPr>
                        <a:t>ilegal</a:t>
                      </a:r>
                      <a:r>
                        <a:rPr lang="en-ID" sz="1000" u="none" strike="noStrike" dirty="0">
                          <a:effectLst/>
                          <a:latin typeface="Aptos Narrow" panose="020B0004020202020204" pitchFamily="34" charset="0"/>
                        </a:rPr>
                        <a:t>/</a:t>
                      </a:r>
                      <a:r>
                        <a:rPr lang="en-ID" sz="1000" u="none" strike="noStrike" dirty="0" err="1">
                          <a:effectLst/>
                          <a:latin typeface="Aptos Narrow" panose="020B0004020202020204" pitchFamily="34" charset="0"/>
                        </a:rPr>
                        <a:t>serangan</a:t>
                      </a:r>
                      <a:r>
                        <a:rPr lang="en-ID" sz="1000" u="none" strike="noStrike" dirty="0">
                          <a:effectLst/>
                          <a:latin typeface="Aptos Narrow" panose="020B0004020202020204" pitchFamily="34" charset="0"/>
                        </a:rPr>
                        <a:t> </a:t>
                      </a:r>
                      <a:r>
                        <a:rPr lang="en-ID" sz="1000" u="none" strike="noStrike" dirty="0" err="1">
                          <a:effectLst/>
                          <a:latin typeface="Aptos Narrow" panose="020B0004020202020204" pitchFamily="34" charset="0"/>
                        </a:rPr>
                        <a:t>siber</a:t>
                      </a:r>
                      <a:endParaRPr lang="en-ID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282" marR="7282" marT="7282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fr-FR" sz="1000" u="none" strike="noStrike" dirty="0">
                          <a:effectLst/>
                          <a:latin typeface="Aptos Narrow" panose="020B0004020202020204" pitchFamily="34" charset="0"/>
                        </a:rPr>
                        <a:t>Login &amp; </a:t>
                      </a:r>
                      <a:r>
                        <a:rPr lang="fr-FR" sz="1000" u="none" strike="noStrike" dirty="0" err="1">
                          <a:effectLst/>
                          <a:latin typeface="Aptos Narrow" panose="020B0004020202020204" pitchFamily="34" charset="0"/>
                        </a:rPr>
                        <a:t>password</a:t>
                      </a:r>
                      <a:r>
                        <a:rPr lang="fr-FR" sz="1000" u="none" strike="noStrike" dirty="0">
                          <a:effectLst/>
                          <a:latin typeface="Aptos Narrow" panose="020B0004020202020204" pitchFamily="34" charset="0"/>
                        </a:rPr>
                        <a:t> </a:t>
                      </a:r>
                      <a:r>
                        <a:rPr lang="fr-FR" sz="1000" u="none" strike="noStrike" dirty="0" err="1">
                          <a:effectLst/>
                          <a:latin typeface="Aptos Narrow" panose="020B0004020202020204" pitchFamily="34" charset="0"/>
                        </a:rPr>
                        <a:t>dasar</a:t>
                      </a:r>
                      <a:r>
                        <a:rPr lang="fr-FR" sz="1000" u="none" strike="noStrike" dirty="0">
                          <a:effectLst/>
                          <a:latin typeface="Aptos Narrow" panose="020B0004020202020204" pitchFamily="34" charset="0"/>
                        </a:rPr>
                        <a:t> </a:t>
                      </a:r>
                      <a:r>
                        <a:rPr lang="fr-FR" sz="1000" u="none" strike="noStrike" dirty="0" err="1">
                          <a:effectLst/>
                          <a:latin typeface="Aptos Narrow" panose="020B0004020202020204" pitchFamily="34" charset="0"/>
                        </a:rPr>
                        <a:t>sudah</a:t>
                      </a:r>
                      <a:r>
                        <a:rPr lang="fr-FR" sz="1000" u="none" strike="noStrike" dirty="0">
                          <a:effectLst/>
                          <a:latin typeface="Aptos Narrow" panose="020B0004020202020204" pitchFamily="34" charset="0"/>
                        </a:rPr>
                        <a:t> ada</a:t>
                      </a:r>
                      <a:endParaRPr lang="fr-FR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282" marR="7282" marT="7282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D" sz="1000" u="none" strike="noStrike" dirty="0" err="1">
                          <a:effectLst/>
                          <a:latin typeface="Aptos Narrow" panose="020B0004020202020204" pitchFamily="34" charset="0"/>
                        </a:rPr>
                        <a:t>Kebocoran</a:t>
                      </a:r>
                      <a:r>
                        <a:rPr lang="en-ID" sz="1000" u="none" strike="noStrike" dirty="0">
                          <a:effectLst/>
                          <a:latin typeface="Aptos Narrow" panose="020B0004020202020204" pitchFamily="34" charset="0"/>
                        </a:rPr>
                        <a:t> data &amp; </a:t>
                      </a:r>
                      <a:r>
                        <a:rPr lang="en-ID" sz="1000" u="none" strike="noStrike" dirty="0" err="1">
                          <a:effectLst/>
                          <a:latin typeface="Aptos Narrow" panose="020B0004020202020204" pitchFamily="34" charset="0"/>
                        </a:rPr>
                        <a:t>kerugian</a:t>
                      </a:r>
                      <a:r>
                        <a:rPr lang="en-ID" sz="1000" u="none" strike="noStrike" dirty="0">
                          <a:effectLst/>
                          <a:latin typeface="Aptos Narrow" panose="020B0004020202020204" pitchFamily="34" charset="0"/>
                        </a:rPr>
                        <a:t> </a:t>
                      </a:r>
                      <a:r>
                        <a:rPr lang="en-ID" sz="1000" u="none" strike="noStrike" dirty="0" err="1">
                          <a:effectLst/>
                          <a:latin typeface="Aptos Narrow" panose="020B0004020202020204" pitchFamily="34" charset="0"/>
                        </a:rPr>
                        <a:t>reputasi</a:t>
                      </a:r>
                      <a:endParaRPr lang="en-ID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282" marR="7282" marT="7282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ID" sz="1000" u="none" strike="noStrike" dirty="0"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  <a:endParaRPr lang="en-ID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282" marR="7282" marT="7282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ID" sz="1000" u="none" strike="noStrike" dirty="0"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  <a:endParaRPr lang="en-ID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282" marR="7282" marT="7282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ID" sz="1000" u="none" strike="noStrike" dirty="0">
                          <a:effectLst/>
                          <a:latin typeface="Aptos Narrow" panose="020B0004020202020204" pitchFamily="34" charset="0"/>
                        </a:rPr>
                        <a:t>12</a:t>
                      </a:r>
                      <a:endParaRPr lang="en-ID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282" marR="7282" marT="7282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D" sz="1000" u="none" strike="noStrike">
                          <a:effectLst/>
                          <a:latin typeface="Aptos Narrow" panose="020B0004020202020204" pitchFamily="34" charset="0"/>
                        </a:rPr>
                        <a:t>Implementasi firewall, enkripsi, audit log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282" marR="7282" marT="7282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D" sz="1000" u="none" strike="noStrike">
                          <a:effectLst/>
                          <a:latin typeface="Aptos Narrow" panose="020B0004020202020204" pitchFamily="34" charset="0"/>
                        </a:rPr>
                        <a:t>IT, HSSE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282" marR="7282" marT="7282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ID" sz="1000" u="none" strike="noStrike"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282" marR="7282" marT="7282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ID" sz="1000" u="none" strike="noStrike"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282" marR="7282" marT="7282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ID" sz="1000" u="none" strike="noStrike"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282" marR="7282" marT="7282" marB="0" anchor="ctr"/>
                </a:tc>
                <a:extLst>
                  <a:ext uri="{0D108BD9-81ED-4DB2-BD59-A6C34878D82A}">
                    <a16:rowId xmlns:a16="http://schemas.microsoft.com/office/drawing/2014/main" val="3940235120"/>
                  </a:ext>
                </a:extLst>
              </a:tr>
              <a:tr h="444887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ID" sz="1000" u="none" strike="noStrike">
                          <a:effectLst/>
                          <a:latin typeface="Aptos Narrow" panose="020B0004020202020204" pitchFamily="34" charset="0"/>
                        </a:rPr>
                        <a:t>5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282" marR="7282" marT="7282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D" sz="1000" u="none" strike="noStrike" dirty="0" err="1">
                          <a:effectLst/>
                          <a:latin typeface="Aptos Narrow" panose="020B0004020202020204" pitchFamily="34" charset="0"/>
                        </a:rPr>
                        <a:t>Adaptasi</a:t>
                      </a:r>
                      <a:r>
                        <a:rPr lang="en-ID" sz="1000" u="none" strike="noStrike" dirty="0">
                          <a:effectLst/>
                          <a:latin typeface="Aptos Narrow" panose="020B0004020202020204" pitchFamily="34" charset="0"/>
                        </a:rPr>
                        <a:t> user </a:t>
                      </a:r>
                      <a:r>
                        <a:rPr lang="en-ID" sz="1000" u="none" strike="noStrike" dirty="0" err="1">
                          <a:effectLst/>
                          <a:latin typeface="Aptos Narrow" panose="020B0004020202020204" pitchFamily="34" charset="0"/>
                        </a:rPr>
                        <a:t>terhadap</a:t>
                      </a:r>
                      <a:r>
                        <a:rPr lang="en-ID" sz="1000" u="none" strike="noStrike" dirty="0">
                          <a:effectLst/>
                          <a:latin typeface="Aptos Narrow" panose="020B0004020202020204" pitchFamily="34" charset="0"/>
                        </a:rPr>
                        <a:t> IDMS </a:t>
                      </a:r>
                      <a:r>
                        <a:rPr lang="en-ID" sz="1000" u="none" strike="noStrike" dirty="0" err="1">
                          <a:effectLst/>
                          <a:latin typeface="Aptos Narrow" panose="020B0004020202020204" pitchFamily="34" charset="0"/>
                        </a:rPr>
                        <a:t>rendah</a:t>
                      </a:r>
                      <a:endParaRPr lang="en-ID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282" marR="7282" marT="7282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D" sz="1000" u="none" strike="noStrike">
                          <a:effectLst/>
                          <a:latin typeface="Aptos Narrow" panose="020B0004020202020204" pitchFamily="34" charset="0"/>
                        </a:rPr>
                        <a:t>Kurang sosialisasi &amp; pelatihan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282" marR="7282" marT="7282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D" sz="1000" u="none" strike="noStrike">
                          <a:effectLst/>
                          <a:latin typeface="Aptos Narrow" panose="020B0004020202020204" pitchFamily="34" charset="0"/>
                        </a:rPr>
                        <a:t>Morale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282" marR="7282" marT="7282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D" sz="1000" u="none" strike="noStrike">
                          <a:effectLst/>
                          <a:latin typeface="Aptos Narrow" panose="020B0004020202020204" pitchFamily="34" charset="0"/>
                        </a:rPr>
                        <a:t>User resistensi, error saat input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282" marR="7282" marT="7282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D" sz="1000" u="none" strike="noStrike">
                          <a:effectLst/>
                          <a:latin typeface="Aptos Narrow" panose="020B0004020202020204" pitchFamily="34" charset="0"/>
                        </a:rPr>
                        <a:t>Manual user dasar sudah ada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282" marR="7282" marT="7282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D" sz="1000" u="none" strike="noStrike">
                          <a:effectLst/>
                          <a:latin typeface="Aptos Narrow" panose="020B0004020202020204" pitchFamily="34" charset="0"/>
                        </a:rPr>
                        <a:t>Produktivitas turun sementara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282" marR="7282" marT="7282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ID" sz="1000" u="none" strike="noStrike"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282" marR="7282" marT="7282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ID" sz="1000" u="none" strike="noStrike"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282" marR="7282" marT="7282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ID" sz="1000" u="none" strike="noStrike" dirty="0">
                          <a:effectLst/>
                          <a:latin typeface="Aptos Narrow" panose="020B0004020202020204" pitchFamily="34" charset="0"/>
                        </a:rPr>
                        <a:t>9</a:t>
                      </a:r>
                      <a:endParaRPr lang="en-ID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282" marR="7282" marT="7282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D" sz="1000" u="none" strike="noStrike" dirty="0" err="1">
                          <a:effectLst/>
                          <a:latin typeface="Aptos Narrow" panose="020B0004020202020204" pitchFamily="34" charset="0"/>
                        </a:rPr>
                        <a:t>Pelatihan</a:t>
                      </a:r>
                      <a:r>
                        <a:rPr lang="en-ID" sz="1000" u="none" strike="noStrike" dirty="0">
                          <a:effectLst/>
                          <a:latin typeface="Aptos Narrow" panose="020B0004020202020204" pitchFamily="34" charset="0"/>
                        </a:rPr>
                        <a:t>, video tutorial, helpdesk support</a:t>
                      </a:r>
                      <a:endParaRPr lang="en-ID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282" marR="7282" marT="7282" marB="0" anchor="ctr"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D" sz="1000" u="none" strike="noStrike" dirty="0">
                          <a:effectLst/>
                          <a:latin typeface="Aptos Narrow" panose="020B0004020202020204" pitchFamily="34" charset="0"/>
                        </a:rPr>
                        <a:t>HR, INSP</a:t>
                      </a:r>
                      <a:endParaRPr lang="en-ID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282" marR="7282" marT="7282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ID" sz="1000" u="none" strike="noStrike" dirty="0"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  <a:endParaRPr lang="en-ID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282" marR="7282" marT="7282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ID" sz="1000" u="none" strike="noStrike" dirty="0"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  <a:endParaRPr lang="en-ID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282" marR="7282" marT="7282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ID" sz="1000" u="none" strike="noStrike" dirty="0"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  <a:endParaRPr lang="en-ID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282" marR="7282" marT="7282" marB="0" anchor="ctr"/>
                </a:tc>
                <a:extLst>
                  <a:ext uri="{0D108BD9-81ED-4DB2-BD59-A6C34878D82A}">
                    <a16:rowId xmlns:a16="http://schemas.microsoft.com/office/drawing/2014/main" val="2787401532"/>
                  </a:ext>
                </a:extLst>
              </a:tr>
            </a:tbl>
          </a:graphicData>
        </a:graphic>
      </p:graphicFrame>
      <p:grpSp>
        <p:nvGrpSpPr>
          <p:cNvPr id="10" name="Group 9">
            <a:extLst>
              <a:ext uri="{FF2B5EF4-FFF2-40B4-BE49-F238E27FC236}">
                <a16:creationId xmlns:a16="http://schemas.microsoft.com/office/drawing/2014/main" id="{91264731-6BB2-C858-FCB9-C3F171454E59}"/>
              </a:ext>
            </a:extLst>
          </p:cNvPr>
          <p:cNvGrpSpPr/>
          <p:nvPr/>
        </p:nvGrpSpPr>
        <p:grpSpPr>
          <a:xfrm>
            <a:off x="10927080" y="3572914"/>
            <a:ext cx="1229360" cy="724106"/>
            <a:chOff x="10927080" y="3771694"/>
            <a:chExt cx="1229360" cy="724106"/>
          </a:xfrm>
        </p:grpSpPr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D271F72B-B1C8-2BD3-0B7C-889CA6DF66CC}"/>
                </a:ext>
              </a:extLst>
            </p:cNvPr>
            <p:cNvSpPr/>
            <p:nvPr/>
          </p:nvSpPr>
          <p:spPr>
            <a:xfrm>
              <a:off x="10927080" y="3771694"/>
              <a:ext cx="1229360" cy="128248"/>
            </a:xfrm>
            <a:prstGeom prst="round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/>
                <a:t>LEGEND</a:t>
              </a:r>
              <a:endParaRPr lang="en-ID" sz="1000" dirty="0"/>
            </a:p>
          </p:txBody>
        </p:sp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5217F0D9-0B81-6D8C-6D0F-BD2C387C7F18}"/>
                </a:ext>
              </a:extLst>
            </p:cNvPr>
            <p:cNvSpPr/>
            <p:nvPr/>
          </p:nvSpPr>
          <p:spPr>
            <a:xfrm>
              <a:off x="10927080" y="3953149"/>
              <a:ext cx="1229360" cy="542651"/>
            </a:xfrm>
            <a:prstGeom prst="round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700" dirty="0"/>
                <a:t>I : Impact</a:t>
              </a:r>
            </a:p>
            <a:p>
              <a:r>
                <a:rPr lang="en-US" sz="700" dirty="0"/>
                <a:t>P: Probability Scale</a:t>
              </a:r>
            </a:p>
            <a:p>
              <a:r>
                <a:rPr lang="en-US" sz="700" dirty="0"/>
                <a:t>RPN : Risk Priority Number</a:t>
              </a:r>
              <a:endParaRPr lang="en-ID" sz="700" dirty="0"/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7A967458-0FC1-2A80-18D6-9022E97555F9}"/>
              </a:ext>
            </a:extLst>
          </p:cNvPr>
          <p:cNvSpPr txBox="1"/>
          <p:nvPr/>
        </p:nvSpPr>
        <p:spPr>
          <a:xfrm>
            <a:off x="848860" y="36851"/>
            <a:ext cx="10482511" cy="56188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sz="2800" b="1" dirty="0" err="1">
                <a:solidFill>
                  <a:srgbClr val="0C345B"/>
                </a:solidFill>
                <a:latin typeface="Futura Medium" panose="020B0602020204020303" pitchFamily="34" charset="-79"/>
                <a:cs typeface="FUTURA MEDIUM" panose="020B0602020204020303" pitchFamily="34" charset="-79"/>
              </a:rPr>
              <a:t>Rencana</a:t>
            </a:r>
            <a:r>
              <a:rPr lang="en-US" sz="2800" b="1" dirty="0">
                <a:solidFill>
                  <a:srgbClr val="0C345B"/>
                </a:solidFill>
                <a:latin typeface="Futura Medium" panose="020B0602020204020303" pitchFamily="34" charset="-79"/>
                <a:cs typeface="FUTURA MEDIUM" panose="020B0602020204020303" pitchFamily="34" charset="-79"/>
              </a:rPr>
              <a:t> </a:t>
            </a:r>
            <a:r>
              <a:rPr lang="en-US" sz="2800" b="1" dirty="0" err="1">
                <a:solidFill>
                  <a:srgbClr val="0C345B"/>
                </a:solidFill>
                <a:latin typeface="Futura Medium" panose="020B0602020204020303" pitchFamily="34" charset="-79"/>
                <a:cs typeface="FUTURA MEDIUM" panose="020B0602020204020303" pitchFamily="34" charset="-79"/>
              </a:rPr>
              <a:t>Perbaikan</a:t>
            </a:r>
            <a:endParaRPr lang="en-US" sz="2800" dirty="0">
              <a:solidFill>
                <a:srgbClr val="0C345B"/>
              </a:solidFill>
              <a:latin typeface="Futura Medium" panose="020B0602020204020303" pitchFamily="34" charset="-79"/>
              <a:cs typeface="Futura Medium" panose="020B0602020204020303" pitchFamily="34" charset="-79"/>
            </a:endParaRPr>
          </a:p>
        </p:txBody>
      </p:sp>
      <p:pic>
        <p:nvPicPr>
          <p:cNvPr id="8" name="Picture 7" descr="A black screen with white text&#10;&#10;Description automatically generated">
            <a:extLst>
              <a:ext uri="{FF2B5EF4-FFF2-40B4-BE49-F238E27FC236}">
                <a16:creationId xmlns:a16="http://schemas.microsoft.com/office/drawing/2014/main" id="{9EE163B2-481C-28E9-8999-0F36DC3721FA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726" t="87519"/>
          <a:stretch/>
        </p:blipFill>
        <p:spPr>
          <a:xfrm>
            <a:off x="11584425" y="6477417"/>
            <a:ext cx="607574" cy="378163"/>
          </a:xfrm>
          <a:prstGeom prst="rect">
            <a:avLst/>
          </a:prstGeom>
        </p:spPr>
      </p:pic>
      <p:pic>
        <p:nvPicPr>
          <p:cNvPr id="9" name="Picture 8" descr="A black screen with white text&#10;&#10;Description automatically generated">
            <a:extLst>
              <a:ext uri="{FF2B5EF4-FFF2-40B4-BE49-F238E27FC236}">
                <a16:creationId xmlns:a16="http://schemas.microsoft.com/office/drawing/2014/main" id="{432B8094-985D-D7C9-373B-E955C1E12913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311" r="78841"/>
          <a:stretch/>
        </p:blipFill>
        <p:spPr>
          <a:xfrm>
            <a:off x="0" y="6478090"/>
            <a:ext cx="1425463" cy="388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236281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76F165-D9A0-1ECF-1512-1CC2F60AA83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99F830B3-E422-0575-057C-2845CC1DFDA9}"/>
              </a:ext>
            </a:extLst>
          </p:cNvPr>
          <p:cNvGrpSpPr/>
          <p:nvPr/>
        </p:nvGrpSpPr>
        <p:grpSpPr>
          <a:xfrm>
            <a:off x="10701" y="-15330"/>
            <a:ext cx="12197884" cy="6888660"/>
            <a:chOff x="95101" y="2012069"/>
            <a:chExt cx="12197884" cy="6888660"/>
          </a:xfrm>
        </p:grpSpPr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47DC49B9-02D9-0A63-B2BD-B90B3532B5C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101" y="2042729"/>
              <a:ext cx="12192000" cy="6858000"/>
            </a:xfrm>
            <a:prstGeom prst="rect">
              <a:avLst/>
            </a:prstGeom>
          </p:spPr>
        </p:pic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59FD7F6A-88A1-B6D2-09CB-40A541567817}"/>
                </a:ext>
              </a:extLst>
            </p:cNvPr>
            <p:cNvSpPr/>
            <p:nvPr/>
          </p:nvSpPr>
          <p:spPr>
            <a:xfrm>
              <a:off x="95101" y="2012069"/>
              <a:ext cx="12197884" cy="6858000"/>
            </a:xfrm>
            <a:prstGeom prst="rect">
              <a:avLst/>
            </a:prstGeom>
            <a:gradFill>
              <a:gsLst>
                <a:gs pos="0">
                  <a:schemeClr val="accent1">
                    <a:lumMod val="5000"/>
                    <a:lumOff val="95000"/>
                    <a:alpha val="0"/>
                  </a:schemeClr>
                </a:gs>
                <a:gs pos="97000">
                  <a:srgbClr val="A6E1BD">
                    <a:alpha val="42115"/>
                  </a:srgbClr>
                </a:gs>
              </a:gsLst>
              <a:lin ang="4200000" scaled="0"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cs typeface="Futura Medium" panose="020B0602020204020303"/>
              </a:endParaRPr>
            </a:p>
          </p:txBody>
        </p:sp>
      </p:grpSp>
      <p:graphicFrame>
        <p:nvGraphicFramePr>
          <p:cNvPr id="90" name="think-cell data - do not delete" hidden="1">
            <a:extLst>
              <a:ext uri="{FF2B5EF4-FFF2-40B4-BE49-F238E27FC236}">
                <a16:creationId xmlns:a16="http://schemas.microsoft.com/office/drawing/2014/main" id="{7C6AF5D5-EA63-90AF-9243-4FDA0EB0E2B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86" imgH="486" progId="TCLayout.ActiveDocument.1">
                  <p:embed/>
                </p:oleObj>
              </mc:Choice>
              <mc:Fallback>
                <p:oleObj name="think-cell Slide" r:id="rId4" imgW="486" imgH="486" progId="TCLayout.ActiveDocument.1">
                  <p:embed/>
                  <p:pic>
                    <p:nvPicPr>
                      <p:cNvPr id="9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C6AF5D5-EA63-90AF-9243-4FDA0EB0E2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3">
            <a:extLst>
              <a:ext uri="{FF2B5EF4-FFF2-40B4-BE49-F238E27FC236}">
                <a16:creationId xmlns:a16="http://schemas.microsoft.com/office/drawing/2014/main" id="{86B8CF9A-4984-FDC9-0371-F9C0B4628AAA}"/>
              </a:ext>
            </a:extLst>
          </p:cNvPr>
          <p:cNvGrpSpPr/>
          <p:nvPr/>
        </p:nvGrpSpPr>
        <p:grpSpPr>
          <a:xfrm>
            <a:off x="0" y="-6002"/>
            <a:ext cx="1439008" cy="463236"/>
            <a:chOff x="93023" y="-6002"/>
            <a:chExt cx="1439008" cy="463236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41FD4C45-A3A8-2D17-3BA3-A14045F774BE}"/>
                </a:ext>
              </a:extLst>
            </p:cNvPr>
            <p:cNvGrpSpPr/>
            <p:nvPr/>
          </p:nvGrpSpPr>
          <p:grpSpPr>
            <a:xfrm>
              <a:off x="93023" y="-6002"/>
              <a:ext cx="1439008" cy="463236"/>
              <a:chOff x="6171866" y="126174"/>
              <a:chExt cx="1126238" cy="369332"/>
            </a:xfrm>
          </p:grpSpPr>
          <p:pic>
            <p:nvPicPr>
              <p:cNvPr id="10" name="Picture 9">
                <a:extLst>
                  <a:ext uri="{FF2B5EF4-FFF2-40B4-BE49-F238E27FC236}">
                    <a16:creationId xmlns:a16="http://schemas.microsoft.com/office/drawing/2014/main" id="{CB303B9E-31A6-6C52-44A8-D07C510861E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74148" b="84200"/>
              <a:stretch/>
            </p:blipFill>
            <p:spPr>
              <a:xfrm flipH="1">
                <a:off x="6171866" y="126174"/>
                <a:ext cx="1126238" cy="369332"/>
              </a:xfrm>
              <a:prstGeom prst="rect">
                <a:avLst/>
              </a:prstGeom>
              <a:effectLst>
                <a:outerShdw blurRad="50800" dist="38100" dir="8100000" algn="tr" rotWithShape="0">
                  <a:prstClr val="black">
                    <a:alpha val="40000"/>
                  </a:prstClr>
                </a:outerShdw>
              </a:effectLst>
            </p:spPr>
          </p:pic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DAE9EE18-8586-C83A-A0B3-72783401AD46}"/>
                  </a:ext>
                </a:extLst>
              </p:cNvPr>
              <p:cNvSpPr/>
              <p:nvPr/>
            </p:nvSpPr>
            <p:spPr>
              <a:xfrm>
                <a:off x="6271117" y="143647"/>
                <a:ext cx="771525" cy="23857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/>
              </a:p>
            </p:txBody>
          </p:sp>
        </p:grpSp>
        <p:pic>
          <p:nvPicPr>
            <p:cNvPr id="9" name="Picture 8" descr="A black background with a black square&#10;&#10;AI-generated content may be incorrect.">
              <a:extLst>
                <a:ext uri="{FF2B5EF4-FFF2-40B4-BE49-F238E27FC236}">
                  <a16:creationId xmlns:a16="http://schemas.microsoft.com/office/drawing/2014/main" id="{C3C377D2-3126-58F1-28F1-264426B4F30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9837" y="48823"/>
              <a:ext cx="934769" cy="233412"/>
            </a:xfrm>
            <a:prstGeom prst="rect">
              <a:avLst/>
            </a:prstGeom>
          </p:spPr>
        </p:pic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237DEE26-9AE1-84D5-BD23-E2F46CEA22E2}"/>
              </a:ext>
            </a:extLst>
          </p:cNvPr>
          <p:cNvGrpSpPr/>
          <p:nvPr/>
        </p:nvGrpSpPr>
        <p:grpSpPr>
          <a:xfrm>
            <a:off x="68831" y="965181"/>
            <a:ext cx="5381625" cy="330383"/>
            <a:chOff x="6471175" y="1036663"/>
            <a:chExt cx="5372132" cy="330383"/>
          </a:xfrm>
        </p:grpSpPr>
        <p:sp>
          <p:nvSpPr>
            <p:cNvPr id="15" name="Title 1">
              <a:extLst>
                <a:ext uri="{FF2B5EF4-FFF2-40B4-BE49-F238E27FC236}">
                  <a16:creationId xmlns:a16="http://schemas.microsoft.com/office/drawing/2014/main" id="{99D66F1F-732B-7627-4B2D-4CD2D3ADD35E}"/>
                </a:ext>
              </a:extLst>
            </p:cNvPr>
            <p:cNvSpPr txBox="1">
              <a:spLocks/>
            </p:cNvSpPr>
            <p:nvPr/>
          </p:nvSpPr>
          <p:spPr>
            <a:xfrm>
              <a:off x="6532362" y="1036663"/>
              <a:ext cx="5310945" cy="267796"/>
            </a:xfrm>
            <a:prstGeom prst="rect">
              <a:avLst/>
            </a:prstGeom>
            <a:solidFill>
              <a:srgbClr val="ED7D31"/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horz" anchor="ctr"/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800" b="1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i-FI" sz="1200" dirty="0">
                  <a:latin typeface="Aptos Narrow" panose="020B0004020202020204" pitchFamily="34" charset="0"/>
                  <a:cs typeface="Calibri" panose="020F0502020204030204" pitchFamily="34" charset="0"/>
                </a:rPr>
                <a:t>Prediction Value Creation</a:t>
              </a:r>
            </a:p>
          </p:txBody>
        </p:sp>
        <p:sp>
          <p:nvSpPr>
            <p:cNvPr id="17" name="Flowchart: Connector 16">
              <a:extLst>
                <a:ext uri="{FF2B5EF4-FFF2-40B4-BE49-F238E27FC236}">
                  <a16:creationId xmlns:a16="http://schemas.microsoft.com/office/drawing/2014/main" id="{EB8422D9-0330-34B0-D492-03DD6A5F8082}"/>
                </a:ext>
              </a:extLst>
            </p:cNvPr>
            <p:cNvSpPr/>
            <p:nvPr/>
          </p:nvSpPr>
          <p:spPr>
            <a:xfrm>
              <a:off x="6471175" y="1238798"/>
              <a:ext cx="122373" cy="128248"/>
            </a:xfrm>
            <a:prstGeom prst="flowChartConnector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style>
            <a:lnRef idx="2">
              <a:schemeClr val="accent3">
                <a:shade val="15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</p:grpSp>
      <p:pic>
        <p:nvPicPr>
          <p:cNvPr id="12" name="Picture 11" descr="A black screen with white text&#10;&#10;Description automatically generated">
            <a:extLst>
              <a:ext uri="{FF2B5EF4-FFF2-40B4-BE49-F238E27FC236}">
                <a16:creationId xmlns:a16="http://schemas.microsoft.com/office/drawing/2014/main" id="{84476839-A2C5-B2D0-E21C-B47C0D230636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726" t="87519"/>
          <a:stretch/>
        </p:blipFill>
        <p:spPr>
          <a:xfrm>
            <a:off x="11584425" y="6477417"/>
            <a:ext cx="607574" cy="378163"/>
          </a:xfrm>
          <a:prstGeom prst="rect">
            <a:avLst/>
          </a:prstGeom>
        </p:spPr>
      </p:pic>
      <p:pic>
        <p:nvPicPr>
          <p:cNvPr id="18" name="Picture 17" descr="A black screen with white text&#10;&#10;Description automatically generated">
            <a:extLst>
              <a:ext uri="{FF2B5EF4-FFF2-40B4-BE49-F238E27FC236}">
                <a16:creationId xmlns:a16="http://schemas.microsoft.com/office/drawing/2014/main" id="{921D7C99-514F-256A-4310-161C93243FB5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311" r="78841"/>
          <a:stretch/>
        </p:blipFill>
        <p:spPr>
          <a:xfrm>
            <a:off x="0" y="6478090"/>
            <a:ext cx="1425463" cy="388376"/>
          </a:xfrm>
          <a:prstGeom prst="rect">
            <a:avLst/>
          </a:prstGeom>
        </p:spPr>
      </p:pic>
      <p:graphicFrame>
        <p:nvGraphicFramePr>
          <p:cNvPr id="21" name="Table 20">
            <a:extLst>
              <a:ext uri="{FF2B5EF4-FFF2-40B4-BE49-F238E27FC236}">
                <a16:creationId xmlns:a16="http://schemas.microsoft.com/office/drawing/2014/main" id="{6FFAF59D-3A91-3E82-C3FC-64CE74433DBA}"/>
              </a:ext>
            </a:extLst>
          </p:cNvPr>
          <p:cNvGraphicFramePr>
            <a:graphicFrameLocks noGrp="1"/>
          </p:cNvGraphicFramePr>
          <p:nvPr/>
        </p:nvGraphicFramePr>
        <p:xfrm>
          <a:off x="191420" y="1231440"/>
          <a:ext cx="9945741" cy="2793401"/>
        </p:xfrm>
        <a:graphic>
          <a:graphicData uri="http://schemas.openxmlformats.org/drawingml/2006/table">
            <a:tbl>
              <a:tblPr firstRow="1" firstCol="1">
                <a:tableStyleId>{5C22544A-7EE6-4342-B048-85BDC9FD1C3A}</a:tableStyleId>
              </a:tblPr>
              <a:tblGrid>
                <a:gridCol w="780296">
                  <a:extLst>
                    <a:ext uri="{9D8B030D-6E8A-4147-A177-3AD203B41FA5}">
                      <a16:colId xmlns:a16="http://schemas.microsoft.com/office/drawing/2014/main" val="4039773465"/>
                    </a:ext>
                  </a:extLst>
                </a:gridCol>
                <a:gridCol w="2746557">
                  <a:extLst>
                    <a:ext uri="{9D8B030D-6E8A-4147-A177-3AD203B41FA5}">
                      <a16:colId xmlns:a16="http://schemas.microsoft.com/office/drawing/2014/main" val="739497963"/>
                    </a:ext>
                  </a:extLst>
                </a:gridCol>
                <a:gridCol w="2448018">
                  <a:extLst>
                    <a:ext uri="{9D8B030D-6E8A-4147-A177-3AD203B41FA5}">
                      <a16:colId xmlns:a16="http://schemas.microsoft.com/office/drawing/2014/main" val="1941360145"/>
                    </a:ext>
                  </a:extLst>
                </a:gridCol>
                <a:gridCol w="1930551">
                  <a:extLst>
                    <a:ext uri="{9D8B030D-6E8A-4147-A177-3AD203B41FA5}">
                      <a16:colId xmlns:a16="http://schemas.microsoft.com/office/drawing/2014/main" val="676785739"/>
                    </a:ext>
                  </a:extLst>
                </a:gridCol>
                <a:gridCol w="2040319">
                  <a:extLst>
                    <a:ext uri="{9D8B030D-6E8A-4147-A177-3AD203B41FA5}">
                      <a16:colId xmlns:a16="http://schemas.microsoft.com/office/drawing/2014/main" val="1042460017"/>
                    </a:ext>
                  </a:extLst>
                </a:gridCol>
              </a:tblGrid>
              <a:tr h="355682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ID" sz="1000" b="1" dirty="0" err="1">
                          <a:latin typeface="Aptos Narrow" panose="020B0004020202020204" pitchFamily="34" charset="0"/>
                        </a:rPr>
                        <a:t>Panca</a:t>
                      </a:r>
                      <a:r>
                        <a:rPr lang="en-ID" sz="1000" b="1" dirty="0">
                          <a:latin typeface="Aptos Narrow" panose="020B0004020202020204" pitchFamily="34" charset="0"/>
                        </a:rPr>
                        <a:t> Mutu</a:t>
                      </a:r>
                      <a:endParaRPr lang="en-ID" sz="1000" dirty="0">
                        <a:latin typeface="Aptos Narrow" panose="020B0004020202020204" pitchFamily="34" charset="0"/>
                      </a:endParaRPr>
                    </a:p>
                  </a:txBody>
                  <a:tcPr marL="46789" marR="46789" marT="23394" marB="23394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ID" sz="1000" b="1">
                          <a:latin typeface="Aptos Narrow" panose="020B0004020202020204" pitchFamily="34" charset="0"/>
                        </a:rPr>
                        <a:t>Dampak Masalah</a:t>
                      </a:r>
                      <a:endParaRPr lang="en-ID" sz="1000">
                        <a:latin typeface="Aptos Narrow" panose="020B0004020202020204" pitchFamily="34" charset="0"/>
                      </a:endParaRPr>
                    </a:p>
                  </a:txBody>
                  <a:tcPr marL="46789" marR="46789" marT="23394" marB="23394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ID" sz="1000" b="1" dirty="0" err="1">
                          <a:latin typeface="Aptos Narrow" panose="020B0004020202020204" pitchFamily="34" charset="0"/>
                        </a:rPr>
                        <a:t>Sasaran</a:t>
                      </a:r>
                      <a:r>
                        <a:rPr lang="en-ID" sz="1000" b="1" dirty="0">
                          <a:latin typeface="Aptos Narrow" panose="020B0004020202020204" pitchFamily="34" charset="0"/>
                        </a:rPr>
                        <a:t> </a:t>
                      </a:r>
                      <a:r>
                        <a:rPr lang="en-ID" sz="1000" b="1" dirty="0" err="1">
                          <a:latin typeface="Aptos Narrow" panose="020B0004020202020204" pitchFamily="34" charset="0"/>
                        </a:rPr>
                        <a:t>Perbaikan</a:t>
                      </a:r>
                      <a:r>
                        <a:rPr lang="en-ID" sz="1000" b="1" dirty="0">
                          <a:latin typeface="Aptos Narrow" panose="020B0004020202020204" pitchFamily="34" charset="0"/>
                        </a:rPr>
                        <a:t> Awal (SMART-C)</a:t>
                      </a:r>
                      <a:endParaRPr lang="en-ID" sz="1000" dirty="0">
                        <a:latin typeface="Aptos Narrow" panose="020B0004020202020204" pitchFamily="34" charset="0"/>
                      </a:endParaRPr>
                    </a:p>
                  </a:txBody>
                  <a:tcPr marL="46789" marR="46789" marT="23394" marB="23394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ID" sz="1000" b="1">
                          <a:latin typeface="Aptos Narrow" panose="020B0004020202020204" pitchFamily="34" charset="0"/>
                        </a:rPr>
                        <a:t>Dasar Penetapan Target</a:t>
                      </a:r>
                      <a:endParaRPr lang="en-ID" sz="1000">
                        <a:latin typeface="Aptos Narrow" panose="020B0004020202020204" pitchFamily="34" charset="0"/>
                      </a:endParaRPr>
                    </a:p>
                  </a:txBody>
                  <a:tcPr marL="46789" marR="46789" marT="23394" marB="23394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ID" sz="1000" b="1" dirty="0">
                          <a:latin typeface="Aptos Narrow" panose="020B0004020202020204" pitchFamily="34" charset="0"/>
                        </a:rPr>
                        <a:t>Benchmark &amp; Best Practice</a:t>
                      </a:r>
                      <a:endParaRPr lang="en-ID" sz="1000" dirty="0">
                        <a:latin typeface="Aptos Narrow" panose="020B0004020202020204" pitchFamily="34" charset="0"/>
                      </a:endParaRPr>
                    </a:p>
                  </a:txBody>
                  <a:tcPr marL="46789" marR="46789" marT="23394" marB="23394" anchor="ctr"/>
                </a:tc>
                <a:extLst>
                  <a:ext uri="{0D108BD9-81ED-4DB2-BD59-A6C34878D82A}">
                    <a16:rowId xmlns:a16="http://schemas.microsoft.com/office/drawing/2014/main" val="2351438054"/>
                  </a:ext>
                </a:extLst>
              </a:tr>
              <a:tr h="538566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ID" sz="1000">
                          <a:latin typeface="Aptos Narrow" panose="020B0004020202020204" pitchFamily="34" charset="0"/>
                        </a:rPr>
                        <a:t>Quality</a:t>
                      </a:r>
                    </a:p>
                  </a:txBody>
                  <a:tcPr marL="46789" marR="46789" marT="23394" marB="23394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ID" sz="1000" dirty="0"/>
                        <a:t>Data </a:t>
                      </a:r>
                      <a:r>
                        <a:rPr lang="en-ID" sz="1000" dirty="0" err="1"/>
                        <a:t>tidak</a:t>
                      </a:r>
                      <a:r>
                        <a:rPr lang="en-ID" sz="1000" dirty="0"/>
                        <a:t> </a:t>
                      </a:r>
                      <a:r>
                        <a:rPr lang="en-ID" sz="1000" dirty="0" err="1"/>
                        <a:t>terstruktur</a:t>
                      </a:r>
                      <a:r>
                        <a:rPr lang="en-ID" sz="1000" dirty="0"/>
                        <a:t>, </a:t>
                      </a:r>
                      <a:r>
                        <a:rPr lang="en-ID" sz="1000" dirty="0" err="1"/>
                        <a:t>rawan</a:t>
                      </a:r>
                      <a:r>
                        <a:rPr lang="en-ID" sz="1000" dirty="0"/>
                        <a:t> </a:t>
                      </a:r>
                      <a:r>
                        <a:rPr lang="en-ID" sz="1000" dirty="0" err="1"/>
                        <a:t>hilang</a:t>
                      </a:r>
                      <a:r>
                        <a:rPr lang="en-ID" sz="1000" dirty="0"/>
                        <a:t>, dan </a:t>
                      </a:r>
                      <a:r>
                        <a:rPr lang="en-ID" sz="1000" dirty="0" err="1"/>
                        <a:t>sulit</a:t>
                      </a:r>
                      <a:r>
                        <a:rPr lang="en-ID" sz="1000" dirty="0"/>
                        <a:t> </a:t>
                      </a:r>
                      <a:r>
                        <a:rPr lang="en-ID" sz="1000" dirty="0" err="1"/>
                        <a:t>ditelusuri</a:t>
                      </a:r>
                      <a:endParaRPr lang="en-ID" sz="1000" dirty="0"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ID" sz="1000" dirty="0" err="1"/>
                        <a:t>Menyediakan</a:t>
                      </a:r>
                      <a:r>
                        <a:rPr lang="en-ID" sz="1000" dirty="0"/>
                        <a:t> </a:t>
                      </a:r>
                      <a:r>
                        <a:rPr lang="en-ID" sz="1000" dirty="0" err="1"/>
                        <a:t>sistem</a:t>
                      </a:r>
                      <a:r>
                        <a:rPr lang="en-ID" sz="1000" dirty="0"/>
                        <a:t> database </a:t>
                      </a:r>
                      <a:r>
                        <a:rPr lang="en-ID" sz="1000" dirty="0" err="1"/>
                        <a:t>terintegrasi</a:t>
                      </a:r>
                      <a:endParaRPr lang="en-ID" sz="1000" dirty="0"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nn-NO" sz="1000" dirty="0">
                          <a:latin typeface="Aptos Narrow" panose="020B0004020202020204" pitchFamily="34" charset="0"/>
                        </a:rPr>
                        <a:t>Audit data &amp; kebutuhan sistem monitoring</a:t>
                      </a:r>
                    </a:p>
                  </a:txBody>
                  <a:tcPr marL="46789" marR="46789" marT="23394" marB="23394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00">
                          <a:latin typeface="Aptos Narrow" panose="020B0004020202020204" pitchFamily="34" charset="0"/>
                        </a:rPr>
                        <a:t>Best practice: penggunaan dashboard monitoring otomatis (real-time integration)</a:t>
                      </a:r>
                    </a:p>
                  </a:txBody>
                  <a:tcPr marL="46789" marR="46789" marT="23394" marB="23394" anchor="ctr"/>
                </a:tc>
                <a:extLst>
                  <a:ext uri="{0D108BD9-81ED-4DB2-BD59-A6C34878D82A}">
                    <a16:rowId xmlns:a16="http://schemas.microsoft.com/office/drawing/2014/main" val="1099253"/>
                  </a:ext>
                </a:extLst>
              </a:tr>
              <a:tr h="538566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ID" sz="1000">
                          <a:latin typeface="Aptos Narrow" panose="020B0004020202020204" pitchFamily="34" charset="0"/>
                        </a:rPr>
                        <a:t>Cost</a:t>
                      </a:r>
                    </a:p>
                  </a:txBody>
                  <a:tcPr marL="46789" marR="46789" marT="23394" marB="23394"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en-ID" sz="1000" dirty="0" err="1"/>
                        <a:t>Biaya</a:t>
                      </a:r>
                      <a:r>
                        <a:rPr lang="en-ID" sz="1000" dirty="0"/>
                        <a:t> </a:t>
                      </a:r>
                      <a:r>
                        <a:rPr lang="en-ID" sz="1000" dirty="0" err="1"/>
                        <a:t>operasional</a:t>
                      </a:r>
                      <a:r>
                        <a:rPr lang="en-ID" sz="1000" dirty="0"/>
                        <a:t> </a:t>
                      </a:r>
                      <a:r>
                        <a:rPr lang="en-ID" sz="1000" dirty="0" err="1"/>
                        <a:t>tinggi</a:t>
                      </a:r>
                      <a:r>
                        <a:rPr lang="en-ID" sz="1000" dirty="0"/>
                        <a:t> </a:t>
                      </a:r>
                      <a:r>
                        <a:rPr lang="en-ID" sz="1000" dirty="0" err="1"/>
                        <a:t>akibat</a:t>
                      </a:r>
                      <a:r>
                        <a:rPr lang="en-ID" sz="1000" dirty="0"/>
                        <a:t> </a:t>
                      </a:r>
                      <a:r>
                        <a:rPr lang="en-ID" sz="1000" dirty="0" err="1"/>
                        <a:t>inefisiensi</a:t>
                      </a:r>
                      <a:r>
                        <a:rPr lang="en-ID" sz="1000" dirty="0"/>
                        <a:t>, </a:t>
                      </a:r>
                      <a:r>
                        <a:rPr lang="en-ID" sz="1000" dirty="0" err="1"/>
                        <a:t>potensi</a:t>
                      </a:r>
                      <a:r>
                        <a:rPr lang="en-ID" sz="1000" dirty="0"/>
                        <a:t> </a:t>
                      </a:r>
                      <a:r>
                        <a:rPr lang="en-ID" sz="1000" dirty="0" err="1"/>
                        <a:t>tambahan</a:t>
                      </a:r>
                      <a:r>
                        <a:rPr lang="en-ID" sz="1000" dirty="0"/>
                        <a:t> </a:t>
                      </a:r>
                      <a:r>
                        <a:rPr lang="en-ID" sz="1000" dirty="0" err="1"/>
                        <a:t>pihak</a:t>
                      </a:r>
                      <a:r>
                        <a:rPr lang="en-ID" sz="1000" dirty="0"/>
                        <a:t> </a:t>
                      </a:r>
                      <a:r>
                        <a:rPr lang="en-ID" sz="1000" dirty="0" err="1"/>
                        <a:t>ketiga</a:t>
                      </a:r>
                      <a:endParaRPr lang="en-ID" sz="1000" dirty="0">
                        <a:latin typeface="Aptos Narrow" panose="020B00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ID" sz="1000" dirty="0" err="1"/>
                        <a:t>Efisiensi</a:t>
                      </a:r>
                      <a:r>
                        <a:rPr lang="en-ID" sz="1000" dirty="0"/>
                        <a:t> </a:t>
                      </a:r>
                      <a:r>
                        <a:rPr lang="en-ID" sz="1000" dirty="0" err="1"/>
                        <a:t>penggunaan</a:t>
                      </a:r>
                      <a:r>
                        <a:rPr lang="en-ID" sz="1000" dirty="0"/>
                        <a:t> </a:t>
                      </a:r>
                      <a:r>
                        <a:rPr lang="en-ID" sz="1000" dirty="0" err="1"/>
                        <a:t>sumber</a:t>
                      </a:r>
                      <a:r>
                        <a:rPr lang="en-ID" sz="1000" dirty="0"/>
                        <a:t> </a:t>
                      </a:r>
                      <a:r>
                        <a:rPr lang="en-ID" sz="1000" dirty="0" err="1"/>
                        <a:t>daya</a:t>
                      </a:r>
                      <a:r>
                        <a:rPr lang="en-ID" sz="1000" dirty="0"/>
                        <a:t> internal</a:t>
                      </a:r>
                      <a:endParaRPr lang="en-ID" sz="1000" dirty="0"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00">
                          <a:latin typeface="Aptos Narrow" panose="020B0004020202020204" pitchFamily="34" charset="0"/>
                        </a:rPr>
                        <a:t>Analisa biaya operasional &amp; IT cost</a:t>
                      </a:r>
                    </a:p>
                  </a:txBody>
                  <a:tcPr marL="46789" marR="46789" marT="23394" marB="23394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00">
                          <a:latin typeface="Aptos Narrow" panose="020B0004020202020204" pitchFamily="34" charset="0"/>
                        </a:rPr>
                        <a:t>Best practice: Centralized Data Management &amp; Role-Based Access Control</a:t>
                      </a:r>
                    </a:p>
                  </a:txBody>
                  <a:tcPr marL="46789" marR="46789" marT="23394" marB="23394" anchor="ctr"/>
                </a:tc>
                <a:extLst>
                  <a:ext uri="{0D108BD9-81ED-4DB2-BD59-A6C34878D82A}">
                    <a16:rowId xmlns:a16="http://schemas.microsoft.com/office/drawing/2014/main" val="2616607394"/>
                  </a:ext>
                </a:extLst>
              </a:tr>
              <a:tr h="453529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ID" sz="1000">
                          <a:latin typeface="Aptos Narrow" panose="020B0004020202020204" pitchFamily="34" charset="0"/>
                        </a:rPr>
                        <a:t>Delivery</a:t>
                      </a:r>
                    </a:p>
                  </a:txBody>
                  <a:tcPr marL="46789" marR="46789" marT="23394" marB="23394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ID" sz="1000" dirty="0" err="1"/>
                        <a:t>Pencarian</a:t>
                      </a:r>
                      <a:r>
                        <a:rPr lang="en-ID" sz="1000" dirty="0"/>
                        <a:t> data </a:t>
                      </a:r>
                      <a:r>
                        <a:rPr lang="en-ID" sz="1000" dirty="0" err="1"/>
                        <a:t>cenderung</a:t>
                      </a:r>
                      <a:r>
                        <a:rPr lang="en-ID" sz="1000" dirty="0"/>
                        <a:t> lama, </a:t>
                      </a:r>
                      <a:r>
                        <a:rPr lang="en-ID" sz="1000" dirty="0" err="1"/>
                        <a:t>menghambat</a:t>
                      </a:r>
                      <a:r>
                        <a:rPr lang="en-ID" sz="1000" dirty="0"/>
                        <a:t> </a:t>
                      </a:r>
                      <a:r>
                        <a:rPr lang="en-ID" sz="1000" dirty="0" err="1"/>
                        <a:t>pengambilan</a:t>
                      </a:r>
                      <a:r>
                        <a:rPr lang="en-ID" sz="1000" dirty="0"/>
                        <a:t> </a:t>
                      </a:r>
                      <a:r>
                        <a:rPr lang="en-ID" sz="1000" dirty="0" err="1"/>
                        <a:t>keputusan</a:t>
                      </a:r>
                      <a:endParaRPr lang="en-ID" sz="1000" dirty="0"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ID" sz="1000" dirty="0" err="1"/>
                        <a:t>Mempercepat</a:t>
                      </a:r>
                      <a:r>
                        <a:rPr lang="en-ID" sz="1000" dirty="0"/>
                        <a:t> </a:t>
                      </a:r>
                      <a:r>
                        <a:rPr lang="en-ID" sz="1000" dirty="0" err="1"/>
                        <a:t>akses</a:t>
                      </a:r>
                      <a:r>
                        <a:rPr lang="en-ID" sz="1000" dirty="0"/>
                        <a:t>, update, dan sharing data </a:t>
                      </a:r>
                      <a:r>
                        <a:rPr lang="en-ID" sz="1000" dirty="0" err="1"/>
                        <a:t>antar</a:t>
                      </a:r>
                      <a:r>
                        <a:rPr lang="en-ID" sz="1000" dirty="0"/>
                        <a:t> </a:t>
                      </a:r>
                      <a:r>
                        <a:rPr lang="en-ID" sz="1000" dirty="0" err="1"/>
                        <a:t>pengguna</a:t>
                      </a:r>
                      <a:endParaRPr lang="en-ID" sz="1000" dirty="0"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D" sz="1000">
                          <a:latin typeface="Aptos Narrow" panose="020B0004020202020204" pitchFamily="34" charset="0"/>
                        </a:rPr>
                        <a:t>Analisa SLA pelaporan &amp; waktu rata-rata pencarian data</a:t>
                      </a:r>
                    </a:p>
                  </a:txBody>
                  <a:tcPr marL="46789" marR="46789" marT="23394" marB="23394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00">
                          <a:latin typeface="Aptos Narrow" panose="020B0004020202020204" pitchFamily="34" charset="0"/>
                        </a:rPr>
                        <a:t>Best practice: Automated Reporting &amp; Data Indexing</a:t>
                      </a:r>
                    </a:p>
                  </a:txBody>
                  <a:tcPr marL="46789" marR="46789" marT="23394" marB="23394" anchor="ctr"/>
                </a:tc>
                <a:extLst>
                  <a:ext uri="{0D108BD9-81ED-4DB2-BD59-A6C34878D82A}">
                    <a16:rowId xmlns:a16="http://schemas.microsoft.com/office/drawing/2014/main" val="3065803674"/>
                  </a:ext>
                </a:extLst>
              </a:tr>
              <a:tr h="453529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ID" sz="1000" dirty="0">
                          <a:latin typeface="Aptos Narrow" panose="020B0004020202020204" pitchFamily="34" charset="0"/>
                        </a:rPr>
                        <a:t>Safety</a:t>
                      </a:r>
                    </a:p>
                  </a:txBody>
                  <a:tcPr marL="46789" marR="46789" marT="23394" marB="23394"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en-ID" sz="1000" dirty="0"/>
                        <a:t>Data </a:t>
                      </a:r>
                      <a:r>
                        <a:rPr lang="en-ID" sz="1000" dirty="0" err="1"/>
                        <a:t>rawan</a:t>
                      </a:r>
                      <a:r>
                        <a:rPr lang="en-ID" sz="1000" dirty="0"/>
                        <a:t> </a:t>
                      </a:r>
                      <a:r>
                        <a:rPr lang="en-ID" sz="1000" dirty="0" err="1"/>
                        <a:t>diakses</a:t>
                      </a:r>
                      <a:r>
                        <a:rPr lang="en-ID" sz="1000" dirty="0"/>
                        <a:t> </a:t>
                      </a:r>
                      <a:r>
                        <a:rPr lang="en-ID" sz="1000" dirty="0" err="1"/>
                        <a:t>pihak</a:t>
                      </a:r>
                      <a:r>
                        <a:rPr lang="en-ID" sz="1000" dirty="0"/>
                        <a:t> </a:t>
                      </a:r>
                      <a:r>
                        <a:rPr lang="en-ID" sz="1000" dirty="0" err="1"/>
                        <a:t>tidak</a:t>
                      </a:r>
                      <a:r>
                        <a:rPr lang="en-ID" sz="1000" dirty="0"/>
                        <a:t> </a:t>
                      </a:r>
                      <a:r>
                        <a:rPr lang="en-ID" sz="1000" dirty="0" err="1"/>
                        <a:t>berwenang</a:t>
                      </a:r>
                      <a:r>
                        <a:rPr lang="en-ID" sz="1000" dirty="0"/>
                        <a:t>, </a:t>
                      </a:r>
                      <a:r>
                        <a:rPr lang="en-ID" sz="1000" dirty="0" err="1"/>
                        <a:t>risiko</a:t>
                      </a:r>
                      <a:r>
                        <a:rPr lang="en-ID" sz="1000" dirty="0"/>
                        <a:t> </a:t>
                      </a:r>
                      <a:r>
                        <a:rPr lang="en-ID" sz="1000" dirty="0" err="1"/>
                        <a:t>kebocoran</a:t>
                      </a:r>
                      <a:r>
                        <a:rPr lang="en-ID" sz="1000" dirty="0"/>
                        <a:t> </a:t>
                      </a:r>
                      <a:r>
                        <a:rPr lang="en-ID" sz="1000" dirty="0" err="1"/>
                        <a:t>informasi</a:t>
                      </a:r>
                      <a:endParaRPr lang="en-ID" sz="1000" kern="1200" dirty="0">
                        <a:solidFill>
                          <a:schemeClr val="dk1"/>
                        </a:solidFill>
                        <a:latin typeface="Aptos Narrow" panose="020B0004020202020204" pitchFamily="34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nn-NO" sz="1000" dirty="0"/>
                        <a:t>Meningkatkan keamanan data dengan kontrol akses</a:t>
                      </a:r>
                      <a:endParaRPr lang="en-ID" sz="1000" dirty="0"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fi-FI" sz="1000" dirty="0">
                          <a:latin typeface="Aptos Narrow" panose="020B0004020202020204" pitchFamily="34" charset="0"/>
                        </a:rPr>
                        <a:t>Audit keamanan &amp; potensi risiko siber</a:t>
                      </a:r>
                    </a:p>
                  </a:txBody>
                  <a:tcPr marL="46789" marR="46789" marT="23394" marB="23394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00" dirty="0">
                          <a:latin typeface="Aptos Narrow" panose="020B0004020202020204" pitchFamily="34" charset="0"/>
                        </a:rPr>
                        <a:t>Best practice: Multi-layer Security &amp; Security Audit Log</a:t>
                      </a:r>
                    </a:p>
                  </a:txBody>
                  <a:tcPr marL="46789" marR="46789" marT="23394" marB="23394" anchor="ctr"/>
                </a:tc>
                <a:extLst>
                  <a:ext uri="{0D108BD9-81ED-4DB2-BD59-A6C34878D82A}">
                    <a16:rowId xmlns:a16="http://schemas.microsoft.com/office/drawing/2014/main" val="844379429"/>
                  </a:ext>
                </a:extLst>
              </a:tr>
              <a:tr h="453529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ID" sz="1000">
                          <a:latin typeface="Aptos Narrow" panose="020B0004020202020204" pitchFamily="34" charset="0"/>
                        </a:rPr>
                        <a:t>Morale</a:t>
                      </a:r>
                    </a:p>
                  </a:txBody>
                  <a:tcPr marL="46789" marR="46789" marT="23394" marB="23394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sv-SE" sz="1000" dirty="0"/>
                        <a:t>Sistem kerja kurang terintegrasi cenderung menjadi lambat, menurunkan motivasi pengguna</a:t>
                      </a:r>
                      <a:endParaRPr lang="en-ID" sz="1000" dirty="0"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ID" sz="1000" dirty="0" err="1"/>
                        <a:t>Menciptakan</a:t>
                      </a:r>
                      <a:r>
                        <a:rPr lang="en-ID" sz="1000" dirty="0"/>
                        <a:t> </a:t>
                      </a:r>
                      <a:r>
                        <a:rPr lang="en-ID" sz="1000" dirty="0" err="1"/>
                        <a:t>sistem</a:t>
                      </a:r>
                      <a:r>
                        <a:rPr lang="en-ID" sz="1000" dirty="0"/>
                        <a:t> yang </a:t>
                      </a:r>
                      <a:r>
                        <a:rPr lang="en-ID" sz="1000" dirty="0" err="1"/>
                        <a:t>efisien</a:t>
                      </a:r>
                      <a:r>
                        <a:rPr lang="en-ID" sz="1000" dirty="0"/>
                        <a:t> dan </a:t>
                      </a:r>
                      <a:r>
                        <a:rPr lang="en-ID" sz="1000" dirty="0" err="1"/>
                        <a:t>transparan</a:t>
                      </a:r>
                      <a:endParaRPr lang="en-ID" sz="1000" dirty="0"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D" sz="1000" dirty="0">
                          <a:latin typeface="Aptos Narrow" panose="020B0004020202020204" pitchFamily="34" charset="0"/>
                        </a:rPr>
                        <a:t>Hasil survey </a:t>
                      </a:r>
                      <a:r>
                        <a:rPr lang="en-ID" sz="1000" dirty="0" err="1">
                          <a:latin typeface="Aptos Narrow" panose="020B0004020202020204" pitchFamily="34" charset="0"/>
                        </a:rPr>
                        <a:t>kepuasan</a:t>
                      </a:r>
                      <a:r>
                        <a:rPr lang="en-ID" sz="1000" dirty="0">
                          <a:latin typeface="Aptos Narrow" panose="020B0004020202020204" pitchFamily="34" charset="0"/>
                        </a:rPr>
                        <a:t> &amp; </a:t>
                      </a:r>
                      <a:r>
                        <a:rPr lang="en-ID" sz="1000" dirty="0" err="1">
                          <a:latin typeface="Aptos Narrow" panose="020B0004020202020204" pitchFamily="34" charset="0"/>
                        </a:rPr>
                        <a:t>kompetensi</a:t>
                      </a:r>
                      <a:r>
                        <a:rPr lang="en-ID" sz="1000" dirty="0">
                          <a:latin typeface="Aptos Narrow" panose="020B0004020202020204" pitchFamily="34" charset="0"/>
                        </a:rPr>
                        <a:t> </a:t>
                      </a:r>
                      <a:r>
                        <a:rPr lang="en-ID" sz="1000" dirty="0" err="1">
                          <a:latin typeface="Aptos Narrow" panose="020B0004020202020204" pitchFamily="34" charset="0"/>
                        </a:rPr>
                        <a:t>pengguna</a:t>
                      </a:r>
                      <a:endParaRPr lang="en-ID" sz="1000" dirty="0">
                        <a:latin typeface="Aptos Narrow" panose="020B0004020202020204" pitchFamily="34" charset="0"/>
                      </a:endParaRPr>
                    </a:p>
                  </a:txBody>
                  <a:tcPr marL="46789" marR="46789" marT="23394" marB="23394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00" dirty="0">
                          <a:latin typeface="Aptos Narrow" panose="020B0004020202020204" pitchFamily="34" charset="0"/>
                        </a:rPr>
                        <a:t>Best practice: User Training, dan User Guide</a:t>
                      </a:r>
                    </a:p>
                  </a:txBody>
                  <a:tcPr marL="46789" marR="46789" marT="23394" marB="23394" anchor="ctr"/>
                </a:tc>
                <a:extLst>
                  <a:ext uri="{0D108BD9-81ED-4DB2-BD59-A6C34878D82A}">
                    <a16:rowId xmlns:a16="http://schemas.microsoft.com/office/drawing/2014/main" val="2874472831"/>
                  </a:ext>
                </a:extLst>
              </a:tr>
            </a:tbl>
          </a:graphicData>
        </a:graphic>
      </p:graphicFrame>
      <p:pic>
        <p:nvPicPr>
          <p:cNvPr id="13" name="Picture 12">
            <a:extLst>
              <a:ext uri="{FF2B5EF4-FFF2-40B4-BE49-F238E27FC236}">
                <a16:creationId xmlns:a16="http://schemas.microsoft.com/office/drawing/2014/main" id="{964934B4-76C8-E70E-0959-D18A4060A534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 rot="16200000">
            <a:off x="7568332" y="2964370"/>
            <a:ext cx="1364529" cy="3773129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52C46A5A-1194-18B9-60C1-568E73E01C7A}"/>
              </a:ext>
            </a:extLst>
          </p:cNvPr>
          <p:cNvSpPr txBox="1"/>
          <p:nvPr/>
        </p:nvSpPr>
        <p:spPr>
          <a:xfrm>
            <a:off x="848860" y="315144"/>
            <a:ext cx="10482511" cy="56188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sz="2800" b="1" dirty="0" err="1">
                <a:solidFill>
                  <a:srgbClr val="0C345B"/>
                </a:solidFill>
                <a:latin typeface="Futura Medium" panose="020B0602020204020303" pitchFamily="34" charset="-79"/>
                <a:cs typeface="FUTURA MEDIUM" panose="020B0602020204020303" pitchFamily="34" charset="-79"/>
              </a:rPr>
              <a:t>Rencana</a:t>
            </a:r>
            <a:r>
              <a:rPr lang="en-US" sz="2800" b="1" dirty="0">
                <a:solidFill>
                  <a:srgbClr val="0C345B"/>
                </a:solidFill>
                <a:latin typeface="Futura Medium" panose="020B0602020204020303" pitchFamily="34" charset="-79"/>
                <a:cs typeface="FUTURA MEDIUM" panose="020B0602020204020303" pitchFamily="34" charset="-79"/>
              </a:rPr>
              <a:t> </a:t>
            </a:r>
            <a:r>
              <a:rPr lang="en-US" sz="2800" b="1" dirty="0" err="1">
                <a:solidFill>
                  <a:srgbClr val="0C345B"/>
                </a:solidFill>
                <a:latin typeface="Futura Medium" panose="020B0602020204020303" pitchFamily="34" charset="-79"/>
                <a:cs typeface="FUTURA MEDIUM" panose="020B0602020204020303" pitchFamily="34" charset="-79"/>
              </a:rPr>
              <a:t>Perbaikan</a:t>
            </a:r>
            <a:endParaRPr lang="en-US" sz="2800" dirty="0">
              <a:solidFill>
                <a:srgbClr val="0C345B"/>
              </a:solidFill>
              <a:latin typeface="Futura Medium" panose="020B0602020204020303" pitchFamily="34" charset="-79"/>
              <a:cs typeface="Futura Medium" panose="020B0602020204020303" pitchFamily="34" charset="-79"/>
            </a:endParaRPr>
          </a:p>
        </p:txBody>
      </p:sp>
    </p:spTree>
    <p:extLst>
      <p:ext uri="{BB962C8B-B14F-4D97-AF65-F5344CB8AC3E}">
        <p14:creationId xmlns:p14="http://schemas.microsoft.com/office/powerpoint/2010/main" val="308282403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55D9468-4E30-26DC-61B6-A5AC569F98C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6B3B5615-D23E-EA9B-39B7-736CA50D68FE}"/>
              </a:ext>
            </a:extLst>
          </p:cNvPr>
          <p:cNvSpPr txBox="1"/>
          <p:nvPr/>
        </p:nvSpPr>
        <p:spPr>
          <a:xfrm>
            <a:off x="848860" y="315144"/>
            <a:ext cx="10482511" cy="56188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sz="2800" b="1">
                <a:solidFill>
                  <a:srgbClr val="0C345B"/>
                </a:solidFill>
                <a:latin typeface="Futura Medium" panose="020B0602020204020303" pitchFamily="34" charset="-79"/>
                <a:cs typeface="FUTURA MEDIUM" panose="020B0602020204020303" pitchFamily="34" charset="-79"/>
              </a:rPr>
              <a:t>Pelaksanaan Perbaikan</a:t>
            </a:r>
            <a:endParaRPr lang="en-US" sz="2800" dirty="0">
              <a:solidFill>
                <a:srgbClr val="0C345B"/>
              </a:solidFill>
              <a:latin typeface="Futura Medium" panose="020B0602020204020303" pitchFamily="34" charset="-79"/>
              <a:cs typeface="Futura Medium" panose="020B0602020204020303" pitchFamily="34" charset="-79"/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FD84F850-E71A-7E40-E0D1-48367A7758FB}"/>
              </a:ext>
            </a:extLst>
          </p:cNvPr>
          <p:cNvGrpSpPr/>
          <p:nvPr/>
        </p:nvGrpSpPr>
        <p:grpSpPr>
          <a:xfrm>
            <a:off x="-11770" y="15914"/>
            <a:ext cx="12203769" cy="6874209"/>
            <a:chOff x="-1" y="-31828"/>
            <a:chExt cx="12203769" cy="6874209"/>
          </a:xfrm>
        </p:grpSpPr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F920C423-EA5B-A73C-E120-4C265C34B3B7}"/>
                </a:ext>
              </a:extLst>
            </p:cNvPr>
            <p:cNvSpPr/>
            <p:nvPr/>
          </p:nvSpPr>
          <p:spPr>
            <a:xfrm>
              <a:off x="5884" y="-15619"/>
              <a:ext cx="12197884" cy="6858000"/>
            </a:xfrm>
            <a:prstGeom prst="rect">
              <a:avLst/>
            </a:prstGeom>
            <a:gradFill>
              <a:gsLst>
                <a:gs pos="0">
                  <a:schemeClr val="accent1">
                    <a:lumMod val="5000"/>
                    <a:lumOff val="95000"/>
                    <a:alpha val="0"/>
                  </a:schemeClr>
                </a:gs>
                <a:gs pos="97000">
                  <a:srgbClr val="A6E1BD">
                    <a:alpha val="42115"/>
                  </a:srgbClr>
                </a:gs>
              </a:gsLst>
              <a:lin ang="4200000" scaled="0"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cs typeface="Futura Medium" panose="020B0602020204020303"/>
              </a:endParaRPr>
            </a:p>
          </p:txBody>
        </p:sp>
        <p:pic>
          <p:nvPicPr>
            <p:cNvPr id="37" name="Picture 36">
              <a:extLst>
                <a:ext uri="{FF2B5EF4-FFF2-40B4-BE49-F238E27FC236}">
                  <a16:creationId xmlns:a16="http://schemas.microsoft.com/office/drawing/2014/main" id="{F537E8DE-F25A-4CE4-A0F9-41FEEFDE411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1" y="-31828"/>
              <a:ext cx="12192000" cy="6858000"/>
            </a:xfrm>
            <a:prstGeom prst="rect">
              <a:avLst/>
            </a:prstGeom>
          </p:spPr>
        </p:pic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17481178-74E2-2D95-7D29-E049A3A2E379}"/>
              </a:ext>
            </a:extLst>
          </p:cNvPr>
          <p:cNvGrpSpPr/>
          <p:nvPr/>
        </p:nvGrpSpPr>
        <p:grpSpPr>
          <a:xfrm>
            <a:off x="0" y="-6002"/>
            <a:ext cx="1439008" cy="463236"/>
            <a:chOff x="93023" y="-6002"/>
            <a:chExt cx="1439008" cy="463236"/>
          </a:xfrm>
        </p:grpSpPr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4C0493CC-337B-7297-585D-A929DBBD8A85}"/>
                </a:ext>
              </a:extLst>
            </p:cNvPr>
            <p:cNvGrpSpPr/>
            <p:nvPr/>
          </p:nvGrpSpPr>
          <p:grpSpPr>
            <a:xfrm>
              <a:off x="93023" y="-6002"/>
              <a:ext cx="1439008" cy="463236"/>
              <a:chOff x="6171866" y="126174"/>
              <a:chExt cx="1126238" cy="369332"/>
            </a:xfrm>
          </p:grpSpPr>
          <p:pic>
            <p:nvPicPr>
              <p:cNvPr id="54" name="Picture 53">
                <a:extLst>
                  <a:ext uri="{FF2B5EF4-FFF2-40B4-BE49-F238E27FC236}">
                    <a16:creationId xmlns:a16="http://schemas.microsoft.com/office/drawing/2014/main" id="{8AA6C1E1-066E-85AC-C01E-6C220F17BFD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74148" b="84200"/>
              <a:stretch/>
            </p:blipFill>
            <p:spPr>
              <a:xfrm flipH="1">
                <a:off x="6171866" y="126174"/>
                <a:ext cx="1126238" cy="369332"/>
              </a:xfrm>
              <a:prstGeom prst="rect">
                <a:avLst/>
              </a:prstGeom>
              <a:effectLst>
                <a:outerShdw blurRad="50800" dist="38100" dir="8100000" algn="tr" rotWithShape="0">
                  <a:prstClr val="black">
                    <a:alpha val="40000"/>
                  </a:prstClr>
                </a:outerShdw>
              </a:effectLst>
            </p:spPr>
          </p:pic>
          <p:sp>
            <p:nvSpPr>
              <p:cNvPr id="55" name="Rectangle 54">
                <a:extLst>
                  <a:ext uri="{FF2B5EF4-FFF2-40B4-BE49-F238E27FC236}">
                    <a16:creationId xmlns:a16="http://schemas.microsoft.com/office/drawing/2014/main" id="{2EB1A8AC-E824-F579-539A-0B34879767DA}"/>
                  </a:ext>
                </a:extLst>
              </p:cNvPr>
              <p:cNvSpPr/>
              <p:nvPr/>
            </p:nvSpPr>
            <p:spPr>
              <a:xfrm>
                <a:off x="6271117" y="143647"/>
                <a:ext cx="771525" cy="23857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/>
              </a:p>
            </p:txBody>
          </p:sp>
        </p:grpSp>
        <p:pic>
          <p:nvPicPr>
            <p:cNvPr id="53" name="Picture 52" descr="A black background with a black square&#10;&#10;AI-generated content may be incorrect.">
              <a:extLst>
                <a:ext uri="{FF2B5EF4-FFF2-40B4-BE49-F238E27FC236}">
                  <a16:creationId xmlns:a16="http://schemas.microsoft.com/office/drawing/2014/main" id="{34DA52EB-3C2E-2BB6-16D9-BA24E9A15F4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9837" y="48823"/>
              <a:ext cx="934769" cy="233412"/>
            </a:xfrm>
            <a:prstGeom prst="rect">
              <a:avLst/>
            </a:prstGeom>
          </p:spPr>
        </p:pic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95DE5EDA-13F6-74F8-06CB-F80FF28A67AA}"/>
              </a:ext>
            </a:extLst>
          </p:cNvPr>
          <p:cNvGrpSpPr/>
          <p:nvPr/>
        </p:nvGrpSpPr>
        <p:grpSpPr>
          <a:xfrm>
            <a:off x="234479" y="972801"/>
            <a:ext cx="5381625" cy="330383"/>
            <a:chOff x="6471175" y="1036663"/>
            <a:chExt cx="5372132" cy="330383"/>
          </a:xfrm>
        </p:grpSpPr>
        <p:sp>
          <p:nvSpPr>
            <p:cNvPr id="5" name="Title 1">
              <a:extLst>
                <a:ext uri="{FF2B5EF4-FFF2-40B4-BE49-F238E27FC236}">
                  <a16:creationId xmlns:a16="http://schemas.microsoft.com/office/drawing/2014/main" id="{4FEB7651-DA44-71A0-F50D-34A6ADE4526B}"/>
                </a:ext>
              </a:extLst>
            </p:cNvPr>
            <p:cNvSpPr txBox="1">
              <a:spLocks/>
            </p:cNvSpPr>
            <p:nvPr/>
          </p:nvSpPr>
          <p:spPr>
            <a:xfrm>
              <a:off x="6532362" y="1036663"/>
              <a:ext cx="5310945" cy="267796"/>
            </a:xfrm>
            <a:prstGeom prst="rect">
              <a:avLst/>
            </a:prstGeom>
            <a:solidFill>
              <a:srgbClr val="ED7D31"/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horz" anchor="ctr"/>
            <a:lstStyle>
              <a:defPPr>
                <a:defRPr lang="en-US"/>
              </a:defPPr>
              <a:lvl1pPr marL="0"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800" b="1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i-FI" sz="1200">
                  <a:latin typeface="Aptos Narrow" panose="020B0004020202020204" pitchFamily="34" charset="0"/>
                  <a:cs typeface="Calibri" panose="020F0502020204030204" pitchFamily="34" charset="0"/>
                </a:rPr>
                <a:t>Analisa Resiko terhadap Solusi Terpilih</a:t>
              </a:r>
            </a:p>
          </p:txBody>
        </p:sp>
        <p:sp>
          <p:nvSpPr>
            <p:cNvPr id="6" name="Flowchart: Connector 5">
              <a:extLst>
                <a:ext uri="{FF2B5EF4-FFF2-40B4-BE49-F238E27FC236}">
                  <a16:creationId xmlns:a16="http://schemas.microsoft.com/office/drawing/2014/main" id="{8AE72A88-C323-B63B-90D7-CE79B380963F}"/>
                </a:ext>
              </a:extLst>
            </p:cNvPr>
            <p:cNvSpPr/>
            <p:nvPr/>
          </p:nvSpPr>
          <p:spPr>
            <a:xfrm>
              <a:off x="6471175" y="1238798"/>
              <a:ext cx="122373" cy="128248"/>
            </a:xfrm>
            <a:prstGeom prst="flowChartConnector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style>
            <a:lnRef idx="2">
              <a:schemeClr val="accent3">
                <a:shade val="15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ID"/>
            </a:p>
          </p:txBody>
        </p:sp>
      </p:grp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B83985FD-15EB-0ABA-E3C0-2DAD4AEFF85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84141024"/>
              </p:ext>
            </p:extLst>
          </p:nvPr>
        </p:nvGraphicFramePr>
        <p:xfrm>
          <a:off x="196387" y="1327636"/>
          <a:ext cx="11665059" cy="4619516"/>
        </p:xfrm>
        <a:graphic>
          <a:graphicData uri="http://schemas.openxmlformats.org/drawingml/2006/table">
            <a:tbl>
              <a:tblPr firstRow="1" firstCol="1">
                <a:tableStyleId>{5C22544A-7EE6-4342-B048-85BDC9FD1C3A}</a:tableStyleId>
              </a:tblPr>
              <a:tblGrid>
                <a:gridCol w="408968">
                  <a:extLst>
                    <a:ext uri="{9D8B030D-6E8A-4147-A177-3AD203B41FA5}">
                      <a16:colId xmlns:a16="http://schemas.microsoft.com/office/drawing/2014/main" val="882070822"/>
                    </a:ext>
                  </a:extLst>
                </a:gridCol>
                <a:gridCol w="2128521">
                  <a:extLst>
                    <a:ext uri="{9D8B030D-6E8A-4147-A177-3AD203B41FA5}">
                      <a16:colId xmlns:a16="http://schemas.microsoft.com/office/drawing/2014/main" val="3778142337"/>
                    </a:ext>
                  </a:extLst>
                </a:gridCol>
                <a:gridCol w="663002">
                  <a:extLst>
                    <a:ext uri="{9D8B030D-6E8A-4147-A177-3AD203B41FA5}">
                      <a16:colId xmlns:a16="http://schemas.microsoft.com/office/drawing/2014/main" val="3340312480"/>
                    </a:ext>
                  </a:extLst>
                </a:gridCol>
                <a:gridCol w="1209224">
                  <a:extLst>
                    <a:ext uri="{9D8B030D-6E8A-4147-A177-3AD203B41FA5}">
                      <a16:colId xmlns:a16="http://schemas.microsoft.com/office/drawing/2014/main" val="1547352714"/>
                    </a:ext>
                  </a:extLst>
                </a:gridCol>
                <a:gridCol w="1209224">
                  <a:extLst>
                    <a:ext uri="{9D8B030D-6E8A-4147-A177-3AD203B41FA5}">
                      <a16:colId xmlns:a16="http://schemas.microsoft.com/office/drawing/2014/main" val="2861669483"/>
                    </a:ext>
                  </a:extLst>
                </a:gridCol>
                <a:gridCol w="1209224">
                  <a:extLst>
                    <a:ext uri="{9D8B030D-6E8A-4147-A177-3AD203B41FA5}">
                      <a16:colId xmlns:a16="http://schemas.microsoft.com/office/drawing/2014/main" val="1329693318"/>
                    </a:ext>
                  </a:extLst>
                </a:gridCol>
                <a:gridCol w="1209224">
                  <a:extLst>
                    <a:ext uri="{9D8B030D-6E8A-4147-A177-3AD203B41FA5}">
                      <a16:colId xmlns:a16="http://schemas.microsoft.com/office/drawing/2014/main" val="1868310082"/>
                    </a:ext>
                  </a:extLst>
                </a:gridCol>
                <a:gridCol w="1209224">
                  <a:extLst>
                    <a:ext uri="{9D8B030D-6E8A-4147-A177-3AD203B41FA5}">
                      <a16:colId xmlns:a16="http://schemas.microsoft.com/office/drawing/2014/main" val="2415703552"/>
                    </a:ext>
                  </a:extLst>
                </a:gridCol>
                <a:gridCol w="1209224">
                  <a:extLst>
                    <a:ext uri="{9D8B030D-6E8A-4147-A177-3AD203B41FA5}">
                      <a16:colId xmlns:a16="http://schemas.microsoft.com/office/drawing/2014/main" val="320854111"/>
                    </a:ext>
                  </a:extLst>
                </a:gridCol>
                <a:gridCol w="1209224">
                  <a:extLst>
                    <a:ext uri="{9D8B030D-6E8A-4147-A177-3AD203B41FA5}">
                      <a16:colId xmlns:a16="http://schemas.microsoft.com/office/drawing/2014/main" val="3737762077"/>
                    </a:ext>
                  </a:extLst>
                </a:gridCol>
              </a:tblGrid>
              <a:tr h="223706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D" sz="1100" b="1" dirty="0"/>
                        <a:t>No</a:t>
                      </a:r>
                      <a:endParaRPr lang="en-ID" sz="1100" b="1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D" sz="1100" b="1" dirty="0" err="1"/>
                        <a:t>Kegiatan</a:t>
                      </a:r>
                      <a:endParaRPr lang="en-ID" sz="1100" b="1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b="1" dirty="0"/>
                        <a:t>Plan/Act</a:t>
                      </a:r>
                      <a:endParaRPr lang="en-ID" sz="1100" b="1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D" sz="1100" b="1" dirty="0"/>
                        <a:t>Nov 2024</a:t>
                      </a:r>
                      <a:endParaRPr lang="en-ID" sz="1100" b="1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D" sz="1100" b="1" dirty="0"/>
                        <a:t>Des 2024</a:t>
                      </a:r>
                      <a:endParaRPr lang="en-ID" sz="1100" b="1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D" sz="1100" b="1" dirty="0"/>
                        <a:t>Jan 2025</a:t>
                      </a:r>
                      <a:endParaRPr lang="en-ID" sz="1100" b="1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D" sz="1100" b="1" dirty="0"/>
                        <a:t>Feb 2025</a:t>
                      </a:r>
                      <a:endParaRPr lang="en-ID" sz="1100" b="1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D" sz="1100" b="1" dirty="0"/>
                        <a:t>Mar 2025</a:t>
                      </a:r>
                      <a:endParaRPr lang="en-ID" sz="1100" b="1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D" sz="1100" b="1" dirty="0"/>
                        <a:t>Apr 2025</a:t>
                      </a:r>
                      <a:endParaRPr lang="en-ID" sz="1100" b="1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D" sz="1100" b="1" dirty="0"/>
                        <a:t>Mei 2025</a:t>
                      </a:r>
                      <a:endParaRPr lang="en-ID" sz="1100" b="1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extLst>
                  <a:ext uri="{0D108BD9-81ED-4DB2-BD59-A6C34878D82A}">
                    <a16:rowId xmlns:a16="http://schemas.microsoft.com/office/drawing/2014/main" val="577182920"/>
                  </a:ext>
                </a:extLst>
              </a:tr>
              <a:tr h="357191">
                <a:tc rowSpan="2"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ID" sz="1100" dirty="0"/>
                        <a:t>1</a:t>
                      </a: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tc rowSpan="2"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D" sz="1100" dirty="0"/>
                        <a:t>Analisa </a:t>
                      </a:r>
                      <a:r>
                        <a:rPr lang="en-ID" sz="1100" dirty="0" err="1"/>
                        <a:t>kebutuhan</a:t>
                      </a:r>
                      <a:r>
                        <a:rPr lang="en-ID" sz="1100" dirty="0"/>
                        <a:t> &amp; </a:t>
                      </a:r>
                      <a:r>
                        <a:rPr lang="en-ID" sz="1100" dirty="0" err="1"/>
                        <a:t>perencanaan</a:t>
                      </a: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dirty="0"/>
                        <a:t>Plan</a:t>
                      </a: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D" sz="1100" dirty="0"/>
                        <a:t>███████████</a:t>
                      </a: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D" sz="1100" dirty="0"/>
                        <a:t>███████████</a:t>
                      </a: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extLst>
                  <a:ext uri="{0D108BD9-81ED-4DB2-BD59-A6C34878D82A}">
                    <a16:rowId xmlns:a16="http://schemas.microsoft.com/office/drawing/2014/main" val="171848691"/>
                  </a:ext>
                </a:extLst>
              </a:tr>
              <a:tr h="357191">
                <a:tc vMerge="1">
                  <a:txBody>
                    <a:bodyPr/>
                    <a:lstStyle/>
                    <a:p>
                      <a:pPr>
                        <a:buNone/>
                      </a:pP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62746"/>
                    </a:solidFill>
                  </a:tcPr>
                </a:tc>
                <a:tc vMerge="1">
                  <a:txBody>
                    <a:bodyPr/>
                    <a:lstStyle/>
                    <a:p>
                      <a:pPr>
                        <a:buNone/>
                      </a:pP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6274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dirty="0"/>
                        <a:t>Actual</a:t>
                      </a: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D" sz="1100" dirty="0"/>
                        <a:t>███████████</a:t>
                      </a: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D" sz="1100" dirty="0"/>
                        <a:t>███████████</a:t>
                      </a: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extLst>
                  <a:ext uri="{0D108BD9-81ED-4DB2-BD59-A6C34878D82A}">
                    <a16:rowId xmlns:a16="http://schemas.microsoft.com/office/drawing/2014/main" val="2601495864"/>
                  </a:ext>
                </a:extLst>
              </a:tr>
              <a:tr h="290218">
                <a:tc rowSpan="2"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ID" sz="1100" dirty="0"/>
                        <a:t>2</a:t>
                      </a: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tc rowSpan="2"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D" sz="1100" dirty="0"/>
                        <a:t>Setup server &amp; </a:t>
                      </a:r>
                      <a:r>
                        <a:rPr lang="en-ID" sz="1100" dirty="0" err="1"/>
                        <a:t>instalasi</a:t>
                      </a:r>
                      <a:r>
                        <a:rPr lang="en-ID" sz="1100" dirty="0"/>
                        <a:t> IDMS</a:t>
                      </a: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dirty="0"/>
                        <a:t>Plan</a:t>
                      </a: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D" sz="1100" dirty="0"/>
                        <a:t>███████████</a:t>
                      </a: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extLst>
                  <a:ext uri="{0D108BD9-81ED-4DB2-BD59-A6C34878D82A}">
                    <a16:rowId xmlns:a16="http://schemas.microsoft.com/office/drawing/2014/main" val="1914509270"/>
                  </a:ext>
                </a:extLst>
              </a:tr>
              <a:tr h="290218">
                <a:tc vMerge="1">
                  <a:txBody>
                    <a:bodyPr/>
                    <a:lstStyle/>
                    <a:p>
                      <a:pPr>
                        <a:buNone/>
                      </a:pP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62746"/>
                    </a:solidFill>
                  </a:tcPr>
                </a:tc>
                <a:tc vMerge="1">
                  <a:txBody>
                    <a:bodyPr/>
                    <a:lstStyle/>
                    <a:p>
                      <a:pPr>
                        <a:buNone/>
                      </a:pP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6274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dirty="0"/>
                        <a:t>Actual</a:t>
                      </a: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D" sz="1100" dirty="0"/>
                        <a:t>███████████</a:t>
                      </a: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extLst>
                  <a:ext uri="{0D108BD9-81ED-4DB2-BD59-A6C34878D82A}">
                    <a16:rowId xmlns:a16="http://schemas.microsoft.com/office/drawing/2014/main" val="3482716777"/>
                  </a:ext>
                </a:extLst>
              </a:tr>
              <a:tr h="289814">
                <a:tc rowSpan="2"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ID" sz="1100" dirty="0"/>
                        <a:t>3</a:t>
                      </a: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tc rowSpan="2"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D" sz="1100" dirty="0" err="1"/>
                        <a:t>Migrasi</a:t>
                      </a:r>
                      <a:r>
                        <a:rPr lang="en-ID" sz="1100" dirty="0"/>
                        <a:t> &amp; </a:t>
                      </a:r>
                      <a:r>
                        <a:rPr lang="en-ID" sz="1100" dirty="0" err="1"/>
                        <a:t>penataan</a:t>
                      </a:r>
                      <a:r>
                        <a:rPr lang="en-ID" sz="1100" dirty="0"/>
                        <a:t> data</a:t>
                      </a: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dirty="0"/>
                        <a:t>Plan</a:t>
                      </a: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ID" sz="110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D" sz="1100" dirty="0"/>
                        <a:t>███████████</a:t>
                      </a: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D" sz="1100" dirty="0"/>
                        <a:t>███████████</a:t>
                      </a: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extLst>
                  <a:ext uri="{0D108BD9-81ED-4DB2-BD59-A6C34878D82A}">
                    <a16:rowId xmlns:a16="http://schemas.microsoft.com/office/drawing/2014/main" val="147543172"/>
                  </a:ext>
                </a:extLst>
              </a:tr>
              <a:tr h="289814">
                <a:tc vMerge="1">
                  <a:txBody>
                    <a:bodyPr/>
                    <a:lstStyle/>
                    <a:p>
                      <a:pPr>
                        <a:buNone/>
                      </a:pP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62746"/>
                    </a:solidFill>
                  </a:tcPr>
                </a:tc>
                <a:tc vMerge="1">
                  <a:txBody>
                    <a:bodyPr/>
                    <a:lstStyle/>
                    <a:p>
                      <a:pPr>
                        <a:buNone/>
                      </a:pP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6274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dirty="0"/>
                        <a:t>Actual</a:t>
                      </a: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ID" sz="110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D" sz="1100" dirty="0"/>
                        <a:t>███████████</a:t>
                      </a: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D" sz="1100" dirty="0"/>
                        <a:t>███████████</a:t>
                      </a:r>
                    </a:p>
                    <a:p>
                      <a:pPr>
                        <a:buNone/>
                      </a:pP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extLst>
                  <a:ext uri="{0D108BD9-81ED-4DB2-BD59-A6C34878D82A}">
                    <a16:rowId xmlns:a16="http://schemas.microsoft.com/office/drawing/2014/main" val="4103697252"/>
                  </a:ext>
                </a:extLst>
              </a:tr>
              <a:tr h="289814">
                <a:tc rowSpan="2"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ID" sz="1100" dirty="0"/>
                        <a:t>4</a:t>
                      </a: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tc rowSpan="2"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D" sz="1100" dirty="0"/>
                        <a:t>Audit trail &amp; </a:t>
                      </a:r>
                      <a:r>
                        <a:rPr lang="en-ID" sz="1100" dirty="0" err="1"/>
                        <a:t>autentikasi</a:t>
                      </a: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dirty="0"/>
                        <a:t>Plan</a:t>
                      </a: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D" sz="1100" dirty="0"/>
                        <a:t>███████████</a:t>
                      </a: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extLst>
                  <a:ext uri="{0D108BD9-81ED-4DB2-BD59-A6C34878D82A}">
                    <a16:rowId xmlns:a16="http://schemas.microsoft.com/office/drawing/2014/main" val="3086116574"/>
                  </a:ext>
                </a:extLst>
              </a:tr>
              <a:tr h="289814">
                <a:tc vMerge="1">
                  <a:txBody>
                    <a:bodyPr/>
                    <a:lstStyle/>
                    <a:p>
                      <a:pPr>
                        <a:buNone/>
                      </a:pP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62746"/>
                    </a:solidFill>
                  </a:tcPr>
                </a:tc>
                <a:tc vMerge="1">
                  <a:txBody>
                    <a:bodyPr/>
                    <a:lstStyle/>
                    <a:p>
                      <a:pPr>
                        <a:buNone/>
                      </a:pP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6274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dirty="0"/>
                        <a:t>Actual</a:t>
                      </a: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D" sz="1100" dirty="0"/>
                        <a:t>███████████</a:t>
                      </a: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extLst>
                  <a:ext uri="{0D108BD9-81ED-4DB2-BD59-A6C34878D82A}">
                    <a16:rowId xmlns:a16="http://schemas.microsoft.com/office/drawing/2014/main" val="4080365936"/>
                  </a:ext>
                </a:extLst>
              </a:tr>
              <a:tr h="290218">
                <a:tc rowSpan="2"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ID" sz="1100" dirty="0"/>
                        <a:t>5</a:t>
                      </a: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tc rowSpan="2"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D" sz="1100" dirty="0" err="1"/>
                        <a:t>Pelatihan</a:t>
                      </a:r>
                      <a:r>
                        <a:rPr lang="en-ID" sz="1100" dirty="0"/>
                        <a:t> user &amp; </a:t>
                      </a:r>
                      <a:r>
                        <a:rPr lang="en-ID" sz="1100" dirty="0" err="1"/>
                        <a:t>pembuatan</a:t>
                      </a:r>
                      <a:r>
                        <a:rPr lang="en-ID" sz="1100" dirty="0"/>
                        <a:t> SOP</a:t>
                      </a: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dirty="0"/>
                        <a:t>Plan</a:t>
                      </a: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D" sz="1100" dirty="0"/>
                        <a:t>███████████</a:t>
                      </a: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extLst>
                  <a:ext uri="{0D108BD9-81ED-4DB2-BD59-A6C34878D82A}">
                    <a16:rowId xmlns:a16="http://schemas.microsoft.com/office/drawing/2014/main" val="3986182763"/>
                  </a:ext>
                </a:extLst>
              </a:tr>
              <a:tr h="290218">
                <a:tc vMerge="1">
                  <a:txBody>
                    <a:bodyPr/>
                    <a:lstStyle/>
                    <a:p>
                      <a:pPr>
                        <a:buNone/>
                      </a:pP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62746"/>
                    </a:solidFill>
                  </a:tcPr>
                </a:tc>
                <a:tc vMerge="1">
                  <a:txBody>
                    <a:bodyPr/>
                    <a:lstStyle/>
                    <a:p>
                      <a:pPr>
                        <a:buNone/>
                      </a:pP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6274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dirty="0"/>
                        <a:t>Actual</a:t>
                      </a: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D" sz="1100" dirty="0"/>
                        <a:t>███████████</a:t>
                      </a:r>
                    </a:p>
                    <a:p>
                      <a:pPr>
                        <a:buNone/>
                      </a:pP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extLst>
                  <a:ext uri="{0D108BD9-81ED-4DB2-BD59-A6C34878D82A}">
                    <a16:rowId xmlns:a16="http://schemas.microsoft.com/office/drawing/2014/main" val="3481628089"/>
                  </a:ext>
                </a:extLst>
              </a:tr>
              <a:tr h="289814">
                <a:tc rowSpan="2"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ID" sz="1100" dirty="0"/>
                        <a:t>6</a:t>
                      </a: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tc rowSpan="2"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D" sz="1100" dirty="0"/>
                        <a:t>Uji </a:t>
                      </a:r>
                      <a:r>
                        <a:rPr lang="en-ID" sz="1100" dirty="0" err="1"/>
                        <a:t>coba</a:t>
                      </a:r>
                      <a:r>
                        <a:rPr lang="en-ID" sz="1100" dirty="0"/>
                        <a:t> &amp; </a:t>
                      </a:r>
                      <a:r>
                        <a:rPr lang="en-ID" sz="1100" dirty="0" err="1"/>
                        <a:t>perbaikan</a:t>
                      </a:r>
                      <a:r>
                        <a:rPr lang="en-ID" sz="1100" dirty="0"/>
                        <a:t> bug</a:t>
                      </a: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dirty="0"/>
                        <a:t>Plan</a:t>
                      </a: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D" sz="1100" dirty="0"/>
                        <a:t>███████████</a:t>
                      </a: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extLst>
                  <a:ext uri="{0D108BD9-81ED-4DB2-BD59-A6C34878D82A}">
                    <a16:rowId xmlns:a16="http://schemas.microsoft.com/office/drawing/2014/main" val="2674989879"/>
                  </a:ext>
                </a:extLst>
              </a:tr>
              <a:tr h="289814">
                <a:tc vMerge="1">
                  <a:txBody>
                    <a:bodyPr/>
                    <a:lstStyle/>
                    <a:p>
                      <a:pPr>
                        <a:buNone/>
                      </a:pP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62746"/>
                    </a:solidFill>
                  </a:tcPr>
                </a:tc>
                <a:tc vMerge="1">
                  <a:txBody>
                    <a:bodyPr/>
                    <a:lstStyle/>
                    <a:p>
                      <a:pPr>
                        <a:buNone/>
                      </a:pP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6274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dirty="0"/>
                        <a:t>Actual</a:t>
                      </a: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D" sz="1100" dirty="0"/>
                        <a:t>███████████</a:t>
                      </a: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extLst>
                  <a:ext uri="{0D108BD9-81ED-4DB2-BD59-A6C34878D82A}">
                    <a16:rowId xmlns:a16="http://schemas.microsoft.com/office/drawing/2014/main" val="2846420905"/>
                  </a:ext>
                </a:extLst>
              </a:tr>
              <a:tr h="289814">
                <a:tc rowSpan="2"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ID" sz="1100" dirty="0"/>
                        <a:t>7</a:t>
                      </a: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tc rowSpan="2"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D" sz="1100" dirty="0" err="1"/>
                        <a:t>Implementasi</a:t>
                      </a:r>
                      <a:r>
                        <a:rPr lang="en-ID" sz="1100" dirty="0"/>
                        <a:t> </a:t>
                      </a:r>
                      <a:r>
                        <a:rPr lang="en-ID" sz="1100" dirty="0" err="1"/>
                        <a:t>penuh</a:t>
                      </a:r>
                      <a:r>
                        <a:rPr lang="en-ID" sz="1100" dirty="0"/>
                        <a:t> &amp; </a:t>
                      </a:r>
                      <a:r>
                        <a:rPr lang="en-ID" sz="1100" dirty="0" err="1"/>
                        <a:t>evaluasi</a:t>
                      </a: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dirty="0"/>
                        <a:t>Plan</a:t>
                      </a: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D" sz="1100" dirty="0"/>
                        <a:t>███████████</a:t>
                      </a: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extLst>
                  <a:ext uri="{0D108BD9-81ED-4DB2-BD59-A6C34878D82A}">
                    <a16:rowId xmlns:a16="http://schemas.microsoft.com/office/drawing/2014/main" val="3190012342"/>
                  </a:ext>
                </a:extLst>
              </a:tr>
              <a:tr h="289814">
                <a:tc vMerge="1">
                  <a:txBody>
                    <a:bodyPr/>
                    <a:lstStyle/>
                    <a:p>
                      <a:pPr>
                        <a:buNone/>
                      </a:pP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62746"/>
                    </a:solidFill>
                  </a:tcPr>
                </a:tc>
                <a:tc vMerge="1">
                  <a:txBody>
                    <a:bodyPr/>
                    <a:lstStyle/>
                    <a:p>
                      <a:pPr>
                        <a:buNone/>
                      </a:pP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6274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dirty="0"/>
                        <a:t>Actual</a:t>
                      </a: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D" sz="1100" dirty="0"/>
                        <a:t>███████████</a:t>
                      </a:r>
                      <a:endParaRPr lang="en-ID" sz="1100" dirty="0">
                        <a:latin typeface="Aptos Narrow" panose="020B0004020202020204" pitchFamily="34" charset="0"/>
                      </a:endParaRPr>
                    </a:p>
                  </a:txBody>
                  <a:tcPr marL="55759" marR="55759" marT="27879" marB="27879" anchor="ctr"/>
                </a:tc>
                <a:extLst>
                  <a:ext uri="{0D108BD9-81ED-4DB2-BD59-A6C34878D82A}">
                    <a16:rowId xmlns:a16="http://schemas.microsoft.com/office/drawing/2014/main" val="169549225"/>
                  </a:ext>
                </a:extLst>
              </a:tr>
            </a:tbl>
          </a:graphicData>
        </a:graphic>
      </p:graphicFrame>
      <p:pic>
        <p:nvPicPr>
          <p:cNvPr id="8" name="Picture 7" descr="A black screen with white text&#10;&#10;Description automatically generated">
            <a:extLst>
              <a:ext uri="{FF2B5EF4-FFF2-40B4-BE49-F238E27FC236}">
                <a16:creationId xmlns:a16="http://schemas.microsoft.com/office/drawing/2014/main" id="{6FCF4E9A-83B3-8CDA-2D2D-36460BC11430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726" t="87519"/>
          <a:stretch/>
        </p:blipFill>
        <p:spPr>
          <a:xfrm>
            <a:off x="11584425" y="6477417"/>
            <a:ext cx="607574" cy="378163"/>
          </a:xfrm>
          <a:prstGeom prst="rect">
            <a:avLst/>
          </a:prstGeom>
        </p:spPr>
      </p:pic>
      <p:pic>
        <p:nvPicPr>
          <p:cNvPr id="9" name="Picture 8" descr="A black screen with white text&#10;&#10;Description automatically generated">
            <a:extLst>
              <a:ext uri="{FF2B5EF4-FFF2-40B4-BE49-F238E27FC236}">
                <a16:creationId xmlns:a16="http://schemas.microsoft.com/office/drawing/2014/main" id="{33C0697E-5824-E36A-D64F-FD974FD90A01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311" r="78841"/>
          <a:stretch/>
        </p:blipFill>
        <p:spPr>
          <a:xfrm>
            <a:off x="0" y="6478090"/>
            <a:ext cx="1425463" cy="388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11645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D6E6FEA-0D53-AB1C-7E57-6E1480A6D2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765959B1-123A-B08D-9964-601BE34E3261}"/>
              </a:ext>
            </a:extLst>
          </p:cNvPr>
          <p:cNvSpPr txBox="1"/>
          <p:nvPr/>
        </p:nvSpPr>
        <p:spPr>
          <a:xfrm>
            <a:off x="854744" y="188835"/>
            <a:ext cx="10482511" cy="56188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sz="2800" b="1">
                <a:solidFill>
                  <a:srgbClr val="0C345B"/>
                </a:solidFill>
                <a:latin typeface="Futura Medium" panose="020B0602020204020303" pitchFamily="34" charset="-79"/>
                <a:cs typeface="FUTURA MEDIUM" panose="020B0602020204020303" pitchFamily="34" charset="-79"/>
              </a:rPr>
              <a:t>Evaluasi Hasil</a:t>
            </a:r>
            <a:endParaRPr lang="en-US" sz="2800" dirty="0">
              <a:solidFill>
                <a:srgbClr val="0C345B"/>
              </a:solidFill>
              <a:latin typeface="Futura Medium" panose="020B0602020204020303" pitchFamily="34" charset="-79"/>
              <a:cs typeface="Futura Medium" panose="020B0602020204020303" pitchFamily="34" charset="-79"/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F750BCAA-0258-E804-03A9-753E0E198595}"/>
              </a:ext>
            </a:extLst>
          </p:cNvPr>
          <p:cNvGrpSpPr/>
          <p:nvPr/>
        </p:nvGrpSpPr>
        <p:grpSpPr>
          <a:xfrm>
            <a:off x="-5884" y="0"/>
            <a:ext cx="12197884" cy="6899381"/>
            <a:chOff x="120929" y="694288"/>
            <a:chExt cx="12197884" cy="6899381"/>
          </a:xfrm>
        </p:grpSpPr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73DA8B12-4668-3282-6C67-7118627A7964}"/>
                </a:ext>
              </a:extLst>
            </p:cNvPr>
            <p:cNvSpPr/>
            <p:nvPr/>
          </p:nvSpPr>
          <p:spPr>
            <a:xfrm>
              <a:off x="120929" y="735669"/>
              <a:ext cx="12197884" cy="6858000"/>
            </a:xfrm>
            <a:prstGeom prst="rect">
              <a:avLst/>
            </a:prstGeom>
            <a:gradFill>
              <a:gsLst>
                <a:gs pos="0">
                  <a:schemeClr val="accent1">
                    <a:lumMod val="5000"/>
                    <a:lumOff val="95000"/>
                    <a:alpha val="0"/>
                  </a:schemeClr>
                </a:gs>
                <a:gs pos="97000">
                  <a:srgbClr val="A6E1BD">
                    <a:alpha val="42115"/>
                  </a:srgbClr>
                </a:gs>
              </a:gsLst>
              <a:lin ang="4200000" scaled="0"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cs typeface="Futura Medium" panose="020B0602020204020303"/>
              </a:endParaRPr>
            </a:p>
          </p:txBody>
        </p:sp>
        <p:pic>
          <p:nvPicPr>
            <p:cNvPr id="37" name="Picture 36">
              <a:extLst>
                <a:ext uri="{FF2B5EF4-FFF2-40B4-BE49-F238E27FC236}">
                  <a16:creationId xmlns:a16="http://schemas.microsoft.com/office/drawing/2014/main" id="{692EB036-6318-C92E-803E-53BEA443192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6813" y="694288"/>
              <a:ext cx="12192000" cy="6858000"/>
            </a:xfrm>
            <a:prstGeom prst="rect">
              <a:avLst/>
            </a:prstGeom>
          </p:spPr>
        </p:pic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4D5C1E3F-CD1F-0638-918B-B96B31C78AB8}"/>
              </a:ext>
            </a:extLst>
          </p:cNvPr>
          <p:cNvGrpSpPr/>
          <p:nvPr/>
        </p:nvGrpSpPr>
        <p:grpSpPr>
          <a:xfrm>
            <a:off x="0" y="-6002"/>
            <a:ext cx="1439008" cy="463236"/>
            <a:chOff x="93023" y="-6002"/>
            <a:chExt cx="1439008" cy="463236"/>
          </a:xfrm>
        </p:grpSpPr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E0271D16-A53A-8935-2E1E-8F4C5CE0308E}"/>
                </a:ext>
              </a:extLst>
            </p:cNvPr>
            <p:cNvGrpSpPr/>
            <p:nvPr/>
          </p:nvGrpSpPr>
          <p:grpSpPr>
            <a:xfrm>
              <a:off x="93023" y="-6002"/>
              <a:ext cx="1439008" cy="463236"/>
              <a:chOff x="6171866" y="126174"/>
              <a:chExt cx="1126238" cy="369332"/>
            </a:xfrm>
          </p:grpSpPr>
          <p:pic>
            <p:nvPicPr>
              <p:cNvPr id="54" name="Picture 53">
                <a:extLst>
                  <a:ext uri="{FF2B5EF4-FFF2-40B4-BE49-F238E27FC236}">
                    <a16:creationId xmlns:a16="http://schemas.microsoft.com/office/drawing/2014/main" id="{1E208A7A-0BD6-6713-7898-8780D66D6FA1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74148" b="84200"/>
              <a:stretch/>
            </p:blipFill>
            <p:spPr>
              <a:xfrm flipH="1">
                <a:off x="6171866" y="126174"/>
                <a:ext cx="1126238" cy="369332"/>
              </a:xfrm>
              <a:prstGeom prst="rect">
                <a:avLst/>
              </a:prstGeom>
              <a:effectLst>
                <a:outerShdw blurRad="50800" dist="38100" dir="8100000" algn="tr" rotWithShape="0">
                  <a:prstClr val="black">
                    <a:alpha val="40000"/>
                  </a:prstClr>
                </a:outerShdw>
              </a:effectLst>
            </p:spPr>
          </p:pic>
          <p:sp>
            <p:nvSpPr>
              <p:cNvPr id="55" name="Rectangle 54">
                <a:extLst>
                  <a:ext uri="{FF2B5EF4-FFF2-40B4-BE49-F238E27FC236}">
                    <a16:creationId xmlns:a16="http://schemas.microsoft.com/office/drawing/2014/main" id="{47C79427-354D-06F6-1DAF-4D998A6D9B58}"/>
                  </a:ext>
                </a:extLst>
              </p:cNvPr>
              <p:cNvSpPr/>
              <p:nvPr/>
            </p:nvSpPr>
            <p:spPr>
              <a:xfrm>
                <a:off x="6271117" y="143647"/>
                <a:ext cx="771525" cy="23857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/>
              </a:p>
            </p:txBody>
          </p:sp>
        </p:grpSp>
        <p:pic>
          <p:nvPicPr>
            <p:cNvPr id="53" name="Picture 52" descr="A black background with a black square&#10;&#10;AI-generated content may be incorrect.">
              <a:extLst>
                <a:ext uri="{FF2B5EF4-FFF2-40B4-BE49-F238E27FC236}">
                  <a16:creationId xmlns:a16="http://schemas.microsoft.com/office/drawing/2014/main" id="{6415A9E3-AF03-05B1-DFA7-8B8C478EAC1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9837" y="48823"/>
              <a:ext cx="934769" cy="233412"/>
            </a:xfrm>
            <a:prstGeom prst="rect">
              <a:avLst/>
            </a:prstGeom>
          </p:spPr>
        </p:pic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18BE359E-C1C6-71E8-21EA-289A9ECA3CCD}"/>
              </a:ext>
            </a:extLst>
          </p:cNvPr>
          <p:cNvGrpSpPr/>
          <p:nvPr/>
        </p:nvGrpSpPr>
        <p:grpSpPr>
          <a:xfrm>
            <a:off x="126814" y="1127923"/>
            <a:ext cx="5381625" cy="330383"/>
            <a:chOff x="6471175" y="1036663"/>
            <a:chExt cx="5372132" cy="330383"/>
          </a:xfrm>
        </p:grpSpPr>
        <p:sp>
          <p:nvSpPr>
            <p:cNvPr id="9" name="Title 1">
              <a:extLst>
                <a:ext uri="{FF2B5EF4-FFF2-40B4-BE49-F238E27FC236}">
                  <a16:creationId xmlns:a16="http://schemas.microsoft.com/office/drawing/2014/main" id="{27891A83-9B8A-01B2-3DAA-5AED9722F045}"/>
                </a:ext>
              </a:extLst>
            </p:cNvPr>
            <p:cNvSpPr txBox="1">
              <a:spLocks/>
            </p:cNvSpPr>
            <p:nvPr/>
          </p:nvSpPr>
          <p:spPr>
            <a:xfrm>
              <a:off x="6532362" y="1036663"/>
              <a:ext cx="5310945" cy="267796"/>
            </a:xfrm>
            <a:prstGeom prst="rect">
              <a:avLst/>
            </a:prstGeom>
            <a:solidFill>
              <a:srgbClr val="ED7D31"/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horz" anchor="ctr"/>
            <a:lstStyle>
              <a:defPPr>
                <a:defRPr lang="en-US"/>
              </a:defPPr>
              <a:lvl1pPr marL="0"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800" b="1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it-IT" sz="1200">
                  <a:latin typeface="Aptos Narrow" panose="020B0004020202020204" pitchFamily="34" charset="0"/>
                  <a:cs typeface="Calibri" panose="020F0502020204030204" pitchFamily="34" charset="0"/>
                </a:rPr>
                <a:t>Kondisi sebelum &amp; Kondisi Sesudah Perbaikan Sesuai Panca Mutu</a:t>
              </a:r>
            </a:p>
          </p:txBody>
        </p:sp>
        <p:sp>
          <p:nvSpPr>
            <p:cNvPr id="10" name="Flowchart: Connector 9">
              <a:extLst>
                <a:ext uri="{FF2B5EF4-FFF2-40B4-BE49-F238E27FC236}">
                  <a16:creationId xmlns:a16="http://schemas.microsoft.com/office/drawing/2014/main" id="{5BAA866A-7446-B1C0-69E1-7B45E46F9B93}"/>
                </a:ext>
              </a:extLst>
            </p:cNvPr>
            <p:cNvSpPr/>
            <p:nvPr/>
          </p:nvSpPr>
          <p:spPr>
            <a:xfrm>
              <a:off x="6471175" y="1238798"/>
              <a:ext cx="122373" cy="128248"/>
            </a:xfrm>
            <a:prstGeom prst="flowChartConnector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style>
            <a:lnRef idx="2">
              <a:schemeClr val="accent3">
                <a:shade val="15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ID"/>
            </a:p>
          </p:txBody>
        </p:sp>
      </p:grpSp>
      <p:sp>
        <p:nvSpPr>
          <p:cNvPr id="12" name="Rectangle 1">
            <a:extLst>
              <a:ext uri="{FF2B5EF4-FFF2-40B4-BE49-F238E27FC236}">
                <a16:creationId xmlns:a16="http://schemas.microsoft.com/office/drawing/2014/main" id="{B5B5847C-2298-84FE-F348-AE6EEF859C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9402" y="1386345"/>
            <a:ext cx="24639672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0F78C83D-4590-5C13-6A00-10464612BDE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36327775"/>
              </p:ext>
            </p:extLst>
          </p:nvPr>
        </p:nvGraphicFramePr>
        <p:xfrm>
          <a:off x="191420" y="1512486"/>
          <a:ext cx="11541350" cy="314645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822642">
                  <a:extLst>
                    <a:ext uri="{9D8B030D-6E8A-4147-A177-3AD203B41FA5}">
                      <a16:colId xmlns:a16="http://schemas.microsoft.com/office/drawing/2014/main" val="3534213249"/>
                    </a:ext>
                  </a:extLst>
                </a:gridCol>
                <a:gridCol w="2243403">
                  <a:extLst>
                    <a:ext uri="{9D8B030D-6E8A-4147-A177-3AD203B41FA5}">
                      <a16:colId xmlns:a16="http://schemas.microsoft.com/office/drawing/2014/main" val="1072775534"/>
                    </a:ext>
                  </a:extLst>
                </a:gridCol>
                <a:gridCol w="1695061">
                  <a:extLst>
                    <a:ext uri="{9D8B030D-6E8A-4147-A177-3AD203B41FA5}">
                      <a16:colId xmlns:a16="http://schemas.microsoft.com/office/drawing/2014/main" val="326213342"/>
                    </a:ext>
                  </a:extLst>
                </a:gridCol>
                <a:gridCol w="2083830">
                  <a:extLst>
                    <a:ext uri="{9D8B030D-6E8A-4147-A177-3AD203B41FA5}">
                      <a16:colId xmlns:a16="http://schemas.microsoft.com/office/drawing/2014/main" val="3818942980"/>
                    </a:ext>
                  </a:extLst>
                </a:gridCol>
                <a:gridCol w="1306292">
                  <a:extLst>
                    <a:ext uri="{9D8B030D-6E8A-4147-A177-3AD203B41FA5}">
                      <a16:colId xmlns:a16="http://schemas.microsoft.com/office/drawing/2014/main" val="2684283491"/>
                    </a:ext>
                  </a:extLst>
                </a:gridCol>
                <a:gridCol w="1695061">
                  <a:extLst>
                    <a:ext uri="{9D8B030D-6E8A-4147-A177-3AD203B41FA5}">
                      <a16:colId xmlns:a16="http://schemas.microsoft.com/office/drawing/2014/main" val="3282747190"/>
                    </a:ext>
                  </a:extLst>
                </a:gridCol>
                <a:gridCol w="1695061">
                  <a:extLst>
                    <a:ext uri="{9D8B030D-6E8A-4147-A177-3AD203B41FA5}">
                      <a16:colId xmlns:a16="http://schemas.microsoft.com/office/drawing/2014/main" val="1591726183"/>
                    </a:ext>
                  </a:extLst>
                </a:gridCol>
              </a:tblGrid>
              <a:tr h="403252">
                <a:tc>
                  <a:txBody>
                    <a:bodyPr/>
                    <a:lstStyle/>
                    <a:p>
                      <a:pPr algn="l"/>
                      <a:r>
                        <a:rPr lang="en-US" sz="1000"/>
                        <a:t>Panca Mutu</a:t>
                      </a:r>
                      <a:endParaRPr lang="en-ID" sz="1000"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 err="1"/>
                        <a:t>Dampak</a:t>
                      </a:r>
                      <a:r>
                        <a:rPr lang="en-US" sz="1000" dirty="0"/>
                        <a:t> </a:t>
                      </a:r>
                      <a:r>
                        <a:rPr lang="en-US" sz="1000" dirty="0" err="1"/>
                        <a:t>Masalah</a:t>
                      </a:r>
                      <a:endParaRPr lang="en-ID" sz="1000" dirty="0"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/>
                        <a:t>Sasaran Perbaikan Awal</a:t>
                      </a:r>
                      <a:endParaRPr lang="en-ID" sz="1000"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/>
                        <a:t>Hasil Perbaikan</a:t>
                      </a:r>
                      <a:endParaRPr lang="en-ID" sz="1000"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/>
                        <a:t>Skateholder</a:t>
                      </a:r>
                      <a:endParaRPr lang="en-ID" sz="1000"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/>
                        <a:t>Keterangan/Benefit Lainnya</a:t>
                      </a:r>
                      <a:endParaRPr lang="en-ID" sz="1000"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/>
                        <a:t>Keterangan</a:t>
                      </a:r>
                      <a:endParaRPr lang="en-ID" sz="1000"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71156604"/>
                  </a:ext>
                </a:extLst>
              </a:tr>
              <a:tr h="544556">
                <a:tc>
                  <a:txBody>
                    <a:bodyPr/>
                    <a:lstStyle/>
                    <a:p>
                      <a:pPr algn="l"/>
                      <a:r>
                        <a:rPr lang="en-US" sz="1000"/>
                        <a:t>Quality</a:t>
                      </a:r>
                      <a:endParaRPr lang="en-ID" sz="1000"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ID" sz="1000" dirty="0"/>
                        <a:t>Data </a:t>
                      </a:r>
                      <a:r>
                        <a:rPr lang="en-ID" sz="1000" dirty="0" err="1"/>
                        <a:t>tidak</a:t>
                      </a:r>
                      <a:r>
                        <a:rPr lang="en-ID" sz="1000" dirty="0"/>
                        <a:t> </a:t>
                      </a:r>
                      <a:r>
                        <a:rPr lang="en-ID" sz="1000" dirty="0" err="1"/>
                        <a:t>terstruktur</a:t>
                      </a:r>
                      <a:r>
                        <a:rPr lang="en-ID" sz="1000" dirty="0"/>
                        <a:t>, </a:t>
                      </a:r>
                      <a:r>
                        <a:rPr lang="en-ID" sz="1000" dirty="0" err="1"/>
                        <a:t>rawan</a:t>
                      </a:r>
                      <a:r>
                        <a:rPr lang="en-ID" sz="1000" dirty="0"/>
                        <a:t> </a:t>
                      </a:r>
                      <a:r>
                        <a:rPr lang="en-ID" sz="1000" dirty="0" err="1"/>
                        <a:t>hilang</a:t>
                      </a:r>
                      <a:r>
                        <a:rPr lang="en-ID" sz="1000" dirty="0"/>
                        <a:t>, dan </a:t>
                      </a:r>
                      <a:r>
                        <a:rPr lang="en-ID" sz="1000" dirty="0" err="1"/>
                        <a:t>sulit</a:t>
                      </a:r>
                      <a:r>
                        <a:rPr lang="en-ID" sz="1000" dirty="0"/>
                        <a:t> </a:t>
                      </a:r>
                      <a:r>
                        <a:rPr lang="en-ID" sz="1000" dirty="0" err="1"/>
                        <a:t>ditelusuri</a:t>
                      </a:r>
                      <a:endParaRPr lang="en-ID" sz="1000" dirty="0"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ID" sz="1000" dirty="0" err="1"/>
                        <a:t>Menyediakan</a:t>
                      </a:r>
                      <a:r>
                        <a:rPr lang="en-ID" sz="1000" dirty="0"/>
                        <a:t> </a:t>
                      </a:r>
                      <a:r>
                        <a:rPr lang="en-ID" sz="1000" dirty="0" err="1"/>
                        <a:t>sistem</a:t>
                      </a:r>
                      <a:r>
                        <a:rPr lang="en-ID" sz="1000" dirty="0"/>
                        <a:t> database </a:t>
                      </a:r>
                      <a:r>
                        <a:rPr lang="en-ID" sz="1000" dirty="0" err="1"/>
                        <a:t>terintegrasi</a:t>
                      </a:r>
                      <a:endParaRPr lang="en-ID" sz="1000" dirty="0"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nn-NO" sz="1000"/>
                        <a:t>Data terdokumentasi dengan baik, akurat, dan mudah ditelusuri (real-time)</a:t>
                      </a:r>
                      <a:endParaRPr lang="en-ID" sz="1000"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ID" sz="1000"/>
                        <a:t>Tim Maintenance</a:t>
                      </a:r>
                      <a:endParaRPr lang="en-ID" sz="1000"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it-IT" sz="1000"/>
                        <a:t>Standarisasi data tercapai, mendukung reliability</a:t>
                      </a:r>
                      <a:endParaRPr lang="en-ID" sz="1000"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ID" sz="1000"/>
                        <a:t>Mendukung keandalan maintenance</a:t>
                      </a:r>
                      <a:endParaRPr lang="en-ID" sz="1000"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86191707"/>
                  </a:ext>
                </a:extLst>
              </a:tr>
              <a:tr h="544556">
                <a:tc>
                  <a:txBody>
                    <a:bodyPr/>
                    <a:lstStyle/>
                    <a:p>
                      <a:pPr algn="l"/>
                      <a:r>
                        <a:rPr lang="en-US" sz="1000"/>
                        <a:t>Cost</a:t>
                      </a:r>
                      <a:endParaRPr lang="en-ID" sz="1000"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en-ID" sz="1000" dirty="0" err="1"/>
                        <a:t>Biaya</a:t>
                      </a:r>
                      <a:r>
                        <a:rPr lang="en-ID" sz="1000" dirty="0"/>
                        <a:t> </a:t>
                      </a:r>
                      <a:r>
                        <a:rPr lang="en-ID" sz="1000" dirty="0" err="1"/>
                        <a:t>operasional</a:t>
                      </a:r>
                      <a:r>
                        <a:rPr lang="en-ID" sz="1000" dirty="0"/>
                        <a:t> </a:t>
                      </a:r>
                      <a:r>
                        <a:rPr lang="en-ID" sz="1000" dirty="0" err="1"/>
                        <a:t>tinggi</a:t>
                      </a:r>
                      <a:r>
                        <a:rPr lang="en-ID" sz="1000" dirty="0"/>
                        <a:t> </a:t>
                      </a:r>
                      <a:r>
                        <a:rPr lang="en-ID" sz="1000" dirty="0" err="1"/>
                        <a:t>akibat</a:t>
                      </a:r>
                      <a:r>
                        <a:rPr lang="en-ID" sz="1000" dirty="0"/>
                        <a:t> </a:t>
                      </a:r>
                      <a:r>
                        <a:rPr lang="en-ID" sz="1000" dirty="0" err="1"/>
                        <a:t>inefisiensi</a:t>
                      </a:r>
                      <a:r>
                        <a:rPr lang="en-ID" sz="1000" dirty="0"/>
                        <a:t>, </a:t>
                      </a:r>
                      <a:r>
                        <a:rPr lang="en-ID" sz="1000" dirty="0" err="1"/>
                        <a:t>potensi</a:t>
                      </a:r>
                      <a:r>
                        <a:rPr lang="en-ID" sz="1000" dirty="0"/>
                        <a:t> </a:t>
                      </a:r>
                      <a:r>
                        <a:rPr lang="en-ID" sz="1000" dirty="0" err="1"/>
                        <a:t>tambahan</a:t>
                      </a:r>
                      <a:r>
                        <a:rPr lang="en-ID" sz="1000" dirty="0"/>
                        <a:t> </a:t>
                      </a:r>
                      <a:r>
                        <a:rPr lang="en-ID" sz="1000" dirty="0" err="1"/>
                        <a:t>pihak</a:t>
                      </a:r>
                      <a:r>
                        <a:rPr lang="en-ID" sz="1000" dirty="0"/>
                        <a:t> </a:t>
                      </a:r>
                      <a:r>
                        <a:rPr lang="en-ID" sz="1000" dirty="0" err="1"/>
                        <a:t>ketiga</a:t>
                      </a:r>
                      <a:endParaRPr lang="en-ID" sz="1000" dirty="0">
                        <a:latin typeface="Aptos Narrow" panose="020B00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ID" sz="1000" dirty="0" err="1"/>
                        <a:t>Efisiensi</a:t>
                      </a:r>
                      <a:r>
                        <a:rPr lang="en-ID" sz="1000" dirty="0"/>
                        <a:t> </a:t>
                      </a:r>
                      <a:r>
                        <a:rPr lang="en-ID" sz="1000" dirty="0" err="1"/>
                        <a:t>penggunaan</a:t>
                      </a:r>
                      <a:r>
                        <a:rPr lang="en-ID" sz="1000" dirty="0"/>
                        <a:t> </a:t>
                      </a:r>
                      <a:r>
                        <a:rPr lang="en-ID" sz="1000" dirty="0" err="1"/>
                        <a:t>sumber</a:t>
                      </a:r>
                      <a:r>
                        <a:rPr lang="en-ID" sz="1000" dirty="0"/>
                        <a:t> </a:t>
                      </a:r>
                      <a:r>
                        <a:rPr lang="en-ID" sz="1000" dirty="0" err="1"/>
                        <a:t>daya</a:t>
                      </a:r>
                      <a:r>
                        <a:rPr lang="en-ID" sz="1000" dirty="0"/>
                        <a:t> internal</a:t>
                      </a:r>
                      <a:endParaRPr lang="en-ID" sz="1000" dirty="0"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ID" sz="1000" dirty="0" err="1"/>
                        <a:t>Biaya</a:t>
                      </a:r>
                      <a:r>
                        <a:rPr lang="en-ID" sz="1000" dirty="0"/>
                        <a:t> </a:t>
                      </a:r>
                      <a:r>
                        <a:rPr lang="en-ID" sz="1000" dirty="0" err="1"/>
                        <a:t>operasional</a:t>
                      </a:r>
                      <a:r>
                        <a:rPr lang="en-ID" sz="1000" dirty="0"/>
                        <a:t> </a:t>
                      </a:r>
                      <a:r>
                        <a:rPr lang="en-ID" sz="1000" dirty="0" err="1"/>
                        <a:t>lebih</a:t>
                      </a:r>
                      <a:r>
                        <a:rPr lang="en-ID" sz="1000" dirty="0"/>
                        <a:t> </a:t>
                      </a:r>
                      <a:r>
                        <a:rPr lang="en-ID" sz="1000" dirty="0" err="1"/>
                        <a:t>efisien</a:t>
                      </a:r>
                      <a:r>
                        <a:rPr lang="en-ID" sz="1000" dirty="0"/>
                        <a:t> Rp 722.000.000 </a:t>
                      </a:r>
                      <a:r>
                        <a:rPr lang="en-ID" sz="1000" dirty="0" err="1"/>
                        <a:t>tanpa</a:t>
                      </a:r>
                      <a:r>
                        <a:rPr lang="en-ID" sz="1000" dirty="0"/>
                        <a:t> </a:t>
                      </a:r>
                      <a:r>
                        <a:rPr lang="en-ID" sz="1000" dirty="0" err="1"/>
                        <a:t>ketergantungan</a:t>
                      </a:r>
                      <a:r>
                        <a:rPr lang="en-ID" sz="1000" dirty="0"/>
                        <a:t> </a:t>
                      </a:r>
                      <a:r>
                        <a:rPr lang="en-ID" sz="1000" dirty="0" err="1"/>
                        <a:t>pihak</a:t>
                      </a:r>
                      <a:r>
                        <a:rPr lang="en-ID" sz="1000" dirty="0"/>
                        <a:t> </a:t>
                      </a:r>
                      <a:r>
                        <a:rPr lang="en-ID" sz="1000" dirty="0" err="1"/>
                        <a:t>eksternal</a:t>
                      </a:r>
                      <a:endParaRPr lang="en-ID" sz="1000" dirty="0"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ID" sz="1000"/>
                        <a:t>Tim Maintenance</a:t>
                      </a:r>
                      <a:endParaRPr lang="en-ID" sz="1000"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fi-FI" sz="1000"/>
                        <a:t>Penghematan jangka panjang, optimalisasi SDM</a:t>
                      </a:r>
                      <a:endParaRPr lang="en-ID" sz="1000"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ID" sz="1000"/>
                        <a:t>Cost saving &amp; efisiensi</a:t>
                      </a:r>
                      <a:endParaRPr lang="en-ID" sz="1000"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54288741"/>
                  </a:ext>
                </a:extLst>
              </a:tr>
              <a:tr h="544556">
                <a:tc>
                  <a:txBody>
                    <a:bodyPr/>
                    <a:lstStyle/>
                    <a:p>
                      <a:pPr algn="l"/>
                      <a:r>
                        <a:rPr lang="en-US" sz="1000"/>
                        <a:t>Delivery</a:t>
                      </a:r>
                      <a:endParaRPr lang="en-ID" sz="1000"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ID" sz="1000" dirty="0" err="1"/>
                        <a:t>Pencarian</a:t>
                      </a:r>
                      <a:r>
                        <a:rPr lang="en-ID" sz="1000" dirty="0"/>
                        <a:t> data </a:t>
                      </a:r>
                      <a:r>
                        <a:rPr lang="en-ID" sz="1000" dirty="0" err="1"/>
                        <a:t>cenderung</a:t>
                      </a:r>
                      <a:r>
                        <a:rPr lang="en-ID" sz="1000" dirty="0"/>
                        <a:t> lama, </a:t>
                      </a:r>
                      <a:r>
                        <a:rPr lang="en-ID" sz="1000" dirty="0" err="1"/>
                        <a:t>menghambat</a:t>
                      </a:r>
                      <a:r>
                        <a:rPr lang="en-ID" sz="1000" dirty="0"/>
                        <a:t> </a:t>
                      </a:r>
                      <a:r>
                        <a:rPr lang="en-ID" sz="1000" dirty="0" err="1"/>
                        <a:t>pengambilan</a:t>
                      </a:r>
                      <a:r>
                        <a:rPr lang="en-ID" sz="1000" dirty="0"/>
                        <a:t> </a:t>
                      </a:r>
                      <a:r>
                        <a:rPr lang="en-ID" sz="1000" dirty="0" err="1"/>
                        <a:t>keputusan</a:t>
                      </a:r>
                      <a:endParaRPr lang="en-ID" sz="1000" dirty="0"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ID" sz="1000"/>
                        <a:t>Mempercepat akses, update, dan sharing data antar pengguna</a:t>
                      </a:r>
                      <a:endParaRPr lang="en-ID" sz="1000"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ID" sz="1000" dirty="0"/>
                        <a:t>Proses </a:t>
                      </a:r>
                      <a:r>
                        <a:rPr lang="en-ID" sz="1000" dirty="0" err="1"/>
                        <a:t>pengolahan</a:t>
                      </a:r>
                      <a:r>
                        <a:rPr lang="en-ID" sz="1000" dirty="0"/>
                        <a:t> data </a:t>
                      </a:r>
                      <a:r>
                        <a:rPr lang="en-ID" sz="1000" dirty="0" err="1"/>
                        <a:t>lebih</a:t>
                      </a:r>
                      <a:r>
                        <a:rPr lang="en-ID" sz="1000" dirty="0"/>
                        <a:t> </a:t>
                      </a:r>
                      <a:r>
                        <a:rPr lang="en-ID" sz="1000" dirty="0" err="1"/>
                        <a:t>cepat</a:t>
                      </a:r>
                      <a:r>
                        <a:rPr lang="en-ID" sz="1000" dirty="0"/>
                        <a:t>, </a:t>
                      </a:r>
                      <a:r>
                        <a:rPr lang="en-ID" sz="1000" dirty="0" err="1"/>
                        <a:t>terintegrasi</a:t>
                      </a:r>
                      <a:r>
                        <a:rPr lang="en-ID" sz="1000" dirty="0"/>
                        <a:t>, dan </a:t>
                      </a:r>
                      <a:r>
                        <a:rPr lang="en-ID" sz="1000" dirty="0" err="1"/>
                        <a:t>meningkatkan</a:t>
                      </a:r>
                      <a:r>
                        <a:rPr lang="en-ID" sz="1000" dirty="0"/>
                        <a:t> </a:t>
                      </a:r>
                      <a:r>
                        <a:rPr lang="en-ID" sz="1000" dirty="0" err="1"/>
                        <a:t>layanan</a:t>
                      </a:r>
                      <a:endParaRPr lang="en-ID" sz="1000" dirty="0"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ID" sz="1000"/>
                        <a:t>Tim Maintenance</a:t>
                      </a:r>
                      <a:endParaRPr lang="en-ID" sz="1000"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ID" sz="1000"/>
                        <a:t>Layanan maintenance lebih responsif</a:t>
                      </a:r>
                      <a:endParaRPr lang="en-ID" sz="1000"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ID" sz="1000"/>
                        <a:t>Mendukung produktivitas</a:t>
                      </a:r>
                      <a:endParaRPr lang="en-ID" sz="1000"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13291925"/>
                  </a:ext>
                </a:extLst>
              </a:tr>
              <a:tr h="544556">
                <a:tc>
                  <a:txBody>
                    <a:bodyPr/>
                    <a:lstStyle/>
                    <a:p>
                      <a:pPr algn="l"/>
                      <a:r>
                        <a:rPr lang="en-US" sz="1000"/>
                        <a:t>Safety</a:t>
                      </a:r>
                      <a:endParaRPr lang="en-US" sz="1000"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en-ID" sz="1000" dirty="0"/>
                        <a:t>Data </a:t>
                      </a:r>
                      <a:r>
                        <a:rPr lang="en-ID" sz="1000" dirty="0" err="1"/>
                        <a:t>rawan</a:t>
                      </a:r>
                      <a:r>
                        <a:rPr lang="en-ID" sz="1000" dirty="0"/>
                        <a:t> </a:t>
                      </a:r>
                      <a:r>
                        <a:rPr lang="en-ID" sz="1000" dirty="0" err="1"/>
                        <a:t>diakses</a:t>
                      </a:r>
                      <a:r>
                        <a:rPr lang="en-ID" sz="1000" dirty="0"/>
                        <a:t> </a:t>
                      </a:r>
                      <a:r>
                        <a:rPr lang="en-ID" sz="1000" dirty="0" err="1"/>
                        <a:t>pihak</a:t>
                      </a:r>
                      <a:r>
                        <a:rPr lang="en-ID" sz="1000" dirty="0"/>
                        <a:t> </a:t>
                      </a:r>
                      <a:r>
                        <a:rPr lang="en-ID" sz="1000" dirty="0" err="1"/>
                        <a:t>tidak</a:t>
                      </a:r>
                      <a:r>
                        <a:rPr lang="en-ID" sz="1000" dirty="0"/>
                        <a:t> </a:t>
                      </a:r>
                      <a:r>
                        <a:rPr lang="en-ID" sz="1000" dirty="0" err="1"/>
                        <a:t>berwenang</a:t>
                      </a:r>
                      <a:r>
                        <a:rPr lang="en-ID" sz="1000" dirty="0"/>
                        <a:t>, </a:t>
                      </a:r>
                      <a:r>
                        <a:rPr lang="en-ID" sz="1000" dirty="0" err="1"/>
                        <a:t>risiko</a:t>
                      </a:r>
                      <a:r>
                        <a:rPr lang="en-ID" sz="1000" dirty="0"/>
                        <a:t> </a:t>
                      </a:r>
                      <a:r>
                        <a:rPr lang="en-ID" sz="1000" dirty="0" err="1"/>
                        <a:t>kebocoran</a:t>
                      </a:r>
                      <a:r>
                        <a:rPr lang="en-ID" sz="1000" dirty="0"/>
                        <a:t> </a:t>
                      </a:r>
                      <a:r>
                        <a:rPr lang="en-ID" sz="1000" dirty="0" err="1"/>
                        <a:t>informasi</a:t>
                      </a:r>
                      <a:endParaRPr lang="en-ID" sz="1000" kern="1200" dirty="0">
                        <a:solidFill>
                          <a:schemeClr val="dk1"/>
                        </a:solidFill>
                        <a:latin typeface="Aptos Narrow" panose="020B0004020202020204" pitchFamily="34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nn-NO" sz="1000"/>
                        <a:t>Meningkatkan keamanan data dengan kontrol akses</a:t>
                      </a:r>
                      <a:endParaRPr lang="en-ID" sz="1000"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ID" sz="1000"/>
                        <a:t>Hanya pihak berwenang yang dapat mengelola data (akses terbatas &amp; aman)</a:t>
                      </a:r>
                      <a:endParaRPr lang="en-ID" sz="1000"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ID" sz="1000"/>
                        <a:t>Tim Maintenance</a:t>
                      </a:r>
                      <a:endParaRPr lang="en-ID" sz="1000"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ID" sz="1000"/>
                        <a:t>Perlindungan data lebih terjamin</a:t>
                      </a:r>
                      <a:endParaRPr lang="en-ID" sz="1000"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ID" sz="1000"/>
                        <a:t>Keamanan informasi meningkat</a:t>
                      </a:r>
                      <a:endParaRPr lang="en-ID" sz="1000"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72564243"/>
                  </a:ext>
                </a:extLst>
              </a:tr>
              <a:tr h="544556">
                <a:tc>
                  <a:txBody>
                    <a:bodyPr/>
                    <a:lstStyle/>
                    <a:p>
                      <a:pPr algn="l"/>
                      <a:r>
                        <a:rPr lang="en-US" sz="1000"/>
                        <a:t>Morale</a:t>
                      </a:r>
                      <a:endParaRPr lang="en-ID" sz="1000"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sv-SE" sz="1000" dirty="0"/>
                        <a:t>Sistem kerja kurang terintegrasi cenderung menjadi lambat, menurunkan motivasi pengguna</a:t>
                      </a:r>
                      <a:endParaRPr lang="en-ID" sz="1000" dirty="0"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ID" sz="1000"/>
                        <a:t>Menciptakan sistem yang efisien dan transparan</a:t>
                      </a:r>
                      <a:endParaRPr lang="en-ID" sz="1000"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s-ES" sz="1000" dirty="0" err="1"/>
                        <a:t>Pengguna</a:t>
                      </a:r>
                      <a:r>
                        <a:rPr lang="es-ES" sz="1000" dirty="0"/>
                        <a:t> </a:t>
                      </a:r>
                      <a:r>
                        <a:rPr lang="es-ES" sz="1000" dirty="0" err="1"/>
                        <a:t>lebih</a:t>
                      </a:r>
                      <a:r>
                        <a:rPr lang="es-ES" sz="1000" dirty="0"/>
                        <a:t> </a:t>
                      </a:r>
                      <a:r>
                        <a:rPr lang="es-ES" sz="1000" dirty="0" err="1"/>
                        <a:t>puas</a:t>
                      </a:r>
                      <a:r>
                        <a:rPr lang="es-ES" sz="1000" dirty="0"/>
                        <a:t>, </a:t>
                      </a:r>
                      <a:r>
                        <a:rPr lang="es-ES" sz="1000" dirty="0" err="1"/>
                        <a:t>termotivasi</a:t>
                      </a:r>
                      <a:r>
                        <a:rPr lang="es-ES" sz="1000" dirty="0"/>
                        <a:t>, dan </a:t>
                      </a:r>
                      <a:r>
                        <a:rPr lang="es-ES" sz="1000" dirty="0" err="1"/>
                        <a:t>mudah</a:t>
                      </a:r>
                      <a:r>
                        <a:rPr lang="es-ES" sz="1000" dirty="0"/>
                        <a:t> </a:t>
                      </a:r>
                      <a:r>
                        <a:rPr lang="es-ES" sz="1000" dirty="0" err="1"/>
                        <a:t>berkolaborasi</a:t>
                      </a:r>
                      <a:endParaRPr lang="en-ID" sz="1000" dirty="0"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ID" sz="1000" dirty="0"/>
                        <a:t>Tim Maintenance</a:t>
                      </a:r>
                      <a:endParaRPr lang="en-ID" sz="1000" dirty="0"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ID" sz="1000"/>
                        <a:t>Kepuasan kerja meningkat</a:t>
                      </a:r>
                      <a:endParaRPr lang="en-ID" sz="1000"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ID" sz="1000" dirty="0" err="1"/>
                        <a:t>Lingkungan</a:t>
                      </a:r>
                      <a:r>
                        <a:rPr lang="en-ID" sz="1000" dirty="0"/>
                        <a:t> </a:t>
                      </a:r>
                      <a:r>
                        <a:rPr lang="en-ID" sz="1000" dirty="0" err="1"/>
                        <a:t>kerja</a:t>
                      </a:r>
                      <a:r>
                        <a:rPr lang="en-ID" sz="1000" dirty="0"/>
                        <a:t> </a:t>
                      </a:r>
                      <a:r>
                        <a:rPr lang="en-ID" sz="1000" dirty="0" err="1"/>
                        <a:t>lebih</a:t>
                      </a:r>
                      <a:r>
                        <a:rPr lang="en-ID" sz="1000" dirty="0"/>
                        <a:t> </a:t>
                      </a:r>
                      <a:r>
                        <a:rPr lang="en-ID" sz="1000" dirty="0" err="1"/>
                        <a:t>kondusif</a:t>
                      </a:r>
                      <a:endParaRPr lang="en-ID" sz="1000" dirty="0"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37656194"/>
                  </a:ext>
                </a:extLst>
              </a:tr>
            </a:tbl>
          </a:graphicData>
        </a:graphic>
      </p:graphicFrame>
      <p:pic>
        <p:nvPicPr>
          <p:cNvPr id="4" name="Picture 3" descr="A black screen with white text&#10;&#10;Description automatically generated">
            <a:extLst>
              <a:ext uri="{FF2B5EF4-FFF2-40B4-BE49-F238E27FC236}">
                <a16:creationId xmlns:a16="http://schemas.microsoft.com/office/drawing/2014/main" id="{F4AF9227-40A9-7990-16CE-D0A147AEBFAB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726" t="87519"/>
          <a:stretch/>
        </p:blipFill>
        <p:spPr>
          <a:xfrm>
            <a:off x="11584425" y="6477417"/>
            <a:ext cx="607574" cy="378163"/>
          </a:xfrm>
          <a:prstGeom prst="rect">
            <a:avLst/>
          </a:prstGeom>
        </p:spPr>
      </p:pic>
      <p:pic>
        <p:nvPicPr>
          <p:cNvPr id="5" name="Picture 4" descr="A black screen with white text&#10;&#10;Description automatically generated">
            <a:extLst>
              <a:ext uri="{FF2B5EF4-FFF2-40B4-BE49-F238E27FC236}">
                <a16:creationId xmlns:a16="http://schemas.microsoft.com/office/drawing/2014/main" id="{4F711936-ECAC-DA2E-E431-7F749CC97ECC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311" r="78841"/>
          <a:stretch/>
        </p:blipFill>
        <p:spPr>
          <a:xfrm>
            <a:off x="0" y="6478090"/>
            <a:ext cx="1425463" cy="388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516434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9F1153D-B31D-515E-C64C-0C62181238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roup 34">
            <a:extLst>
              <a:ext uri="{FF2B5EF4-FFF2-40B4-BE49-F238E27FC236}">
                <a16:creationId xmlns:a16="http://schemas.microsoft.com/office/drawing/2014/main" id="{510FCEE6-BF6A-AC8E-EF0B-733204CAC872}"/>
              </a:ext>
            </a:extLst>
          </p:cNvPr>
          <p:cNvGrpSpPr/>
          <p:nvPr/>
        </p:nvGrpSpPr>
        <p:grpSpPr>
          <a:xfrm>
            <a:off x="0" y="-31828"/>
            <a:ext cx="12197884" cy="6873914"/>
            <a:chOff x="-1218701" y="397370"/>
            <a:chExt cx="12197884" cy="6873914"/>
          </a:xfrm>
        </p:grpSpPr>
        <p:pic>
          <p:nvPicPr>
            <p:cNvPr id="37" name="Picture 36">
              <a:extLst>
                <a:ext uri="{FF2B5EF4-FFF2-40B4-BE49-F238E27FC236}">
                  <a16:creationId xmlns:a16="http://schemas.microsoft.com/office/drawing/2014/main" id="{CB0C8A70-F306-6DFD-F1CC-BCBF1D5EA99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1218701" y="413284"/>
              <a:ext cx="12192000" cy="6858000"/>
            </a:xfrm>
            <a:prstGeom prst="rect">
              <a:avLst/>
            </a:prstGeom>
          </p:spPr>
        </p:pic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38129B4A-7338-0FAD-3775-6CF3905F3BD6}"/>
                </a:ext>
              </a:extLst>
            </p:cNvPr>
            <p:cNvSpPr/>
            <p:nvPr/>
          </p:nvSpPr>
          <p:spPr>
            <a:xfrm>
              <a:off x="-1218701" y="397370"/>
              <a:ext cx="12197884" cy="6858000"/>
            </a:xfrm>
            <a:prstGeom prst="rect">
              <a:avLst/>
            </a:prstGeom>
            <a:gradFill>
              <a:gsLst>
                <a:gs pos="0">
                  <a:schemeClr val="accent1">
                    <a:lumMod val="5000"/>
                    <a:lumOff val="95000"/>
                    <a:alpha val="0"/>
                  </a:schemeClr>
                </a:gs>
                <a:gs pos="97000">
                  <a:srgbClr val="A6E1BD">
                    <a:alpha val="42115"/>
                  </a:srgbClr>
                </a:gs>
              </a:gsLst>
              <a:lin ang="4200000" scaled="0"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cs typeface="Futura Medium" panose="020B0602020204020303"/>
              </a:endParaRPr>
            </a:p>
          </p:txBody>
        </p: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0FE318FB-E4ED-0E71-94EB-1EF4A8F49F4B}"/>
              </a:ext>
            </a:extLst>
          </p:cNvPr>
          <p:cNvGrpSpPr/>
          <p:nvPr/>
        </p:nvGrpSpPr>
        <p:grpSpPr>
          <a:xfrm>
            <a:off x="0" y="-6002"/>
            <a:ext cx="1439008" cy="463236"/>
            <a:chOff x="93023" y="-6002"/>
            <a:chExt cx="1439008" cy="463236"/>
          </a:xfrm>
        </p:grpSpPr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79CA750F-C6EF-885B-F730-B168296CC78D}"/>
                </a:ext>
              </a:extLst>
            </p:cNvPr>
            <p:cNvGrpSpPr/>
            <p:nvPr/>
          </p:nvGrpSpPr>
          <p:grpSpPr>
            <a:xfrm>
              <a:off x="93023" y="-6002"/>
              <a:ext cx="1439008" cy="463236"/>
              <a:chOff x="6171866" y="126174"/>
              <a:chExt cx="1126238" cy="369332"/>
            </a:xfrm>
          </p:grpSpPr>
          <p:pic>
            <p:nvPicPr>
              <p:cNvPr id="54" name="Picture 53">
                <a:extLst>
                  <a:ext uri="{FF2B5EF4-FFF2-40B4-BE49-F238E27FC236}">
                    <a16:creationId xmlns:a16="http://schemas.microsoft.com/office/drawing/2014/main" id="{B4E29474-8787-99B9-4A34-AC5D36986DEE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74148" b="84200"/>
              <a:stretch/>
            </p:blipFill>
            <p:spPr>
              <a:xfrm flipH="1">
                <a:off x="6171866" y="126174"/>
                <a:ext cx="1126238" cy="369332"/>
              </a:xfrm>
              <a:prstGeom prst="rect">
                <a:avLst/>
              </a:prstGeom>
              <a:effectLst>
                <a:outerShdw blurRad="50800" dist="38100" dir="8100000" algn="tr" rotWithShape="0">
                  <a:prstClr val="black">
                    <a:alpha val="40000"/>
                  </a:prstClr>
                </a:outerShdw>
              </a:effectLst>
            </p:spPr>
          </p:pic>
          <p:sp>
            <p:nvSpPr>
              <p:cNvPr id="55" name="Rectangle 54">
                <a:extLst>
                  <a:ext uri="{FF2B5EF4-FFF2-40B4-BE49-F238E27FC236}">
                    <a16:creationId xmlns:a16="http://schemas.microsoft.com/office/drawing/2014/main" id="{1C7075FE-3F27-12B0-2330-DD2D7A4D3D74}"/>
                  </a:ext>
                </a:extLst>
              </p:cNvPr>
              <p:cNvSpPr/>
              <p:nvPr/>
            </p:nvSpPr>
            <p:spPr>
              <a:xfrm>
                <a:off x="6271117" y="143647"/>
                <a:ext cx="771525" cy="23857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/>
              </a:p>
            </p:txBody>
          </p:sp>
        </p:grpSp>
        <p:pic>
          <p:nvPicPr>
            <p:cNvPr id="53" name="Picture 52" descr="A black background with a black square&#10;&#10;AI-generated content may be incorrect.">
              <a:extLst>
                <a:ext uri="{FF2B5EF4-FFF2-40B4-BE49-F238E27FC236}">
                  <a16:creationId xmlns:a16="http://schemas.microsoft.com/office/drawing/2014/main" id="{970FF9FD-C392-7E11-C595-01206BDF320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9837" y="48823"/>
              <a:ext cx="934769" cy="233412"/>
            </a:xfrm>
            <a:prstGeom prst="rect">
              <a:avLst/>
            </a:prstGeom>
          </p:spPr>
        </p:pic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0CDFD984-0E64-638F-3998-D94BF6923F4F}"/>
              </a:ext>
            </a:extLst>
          </p:cNvPr>
          <p:cNvGrpSpPr/>
          <p:nvPr/>
        </p:nvGrpSpPr>
        <p:grpSpPr>
          <a:xfrm>
            <a:off x="361524" y="1011555"/>
            <a:ext cx="5381625" cy="330383"/>
            <a:chOff x="6471175" y="1036663"/>
            <a:chExt cx="5372132" cy="330383"/>
          </a:xfrm>
        </p:grpSpPr>
        <p:sp>
          <p:nvSpPr>
            <p:cNvPr id="12" name="Title 1">
              <a:extLst>
                <a:ext uri="{FF2B5EF4-FFF2-40B4-BE49-F238E27FC236}">
                  <a16:creationId xmlns:a16="http://schemas.microsoft.com/office/drawing/2014/main" id="{A5B96D27-E743-FEF5-F592-D84749DF0A57}"/>
                </a:ext>
              </a:extLst>
            </p:cNvPr>
            <p:cNvSpPr txBox="1">
              <a:spLocks/>
            </p:cNvSpPr>
            <p:nvPr/>
          </p:nvSpPr>
          <p:spPr>
            <a:xfrm>
              <a:off x="6532362" y="1036663"/>
              <a:ext cx="5310945" cy="267796"/>
            </a:xfrm>
            <a:prstGeom prst="rect">
              <a:avLst/>
            </a:prstGeom>
            <a:solidFill>
              <a:srgbClr val="ED7D31"/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horz" anchor="ctr"/>
            <a:lstStyle>
              <a:defPPr>
                <a:defRPr lang="en-US"/>
              </a:defPPr>
              <a:lvl1pPr marL="0"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800" b="1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it-IT" sz="1200">
                  <a:latin typeface="Aptos Narrow" panose="020B0004020202020204" pitchFamily="34" charset="0"/>
                  <a:cs typeface="Calibri" panose="020F0502020204030204" pitchFamily="34" charset="0"/>
                </a:rPr>
                <a:t>Nilai Pareto Penyebab Dominan – Setelah Perbaikan</a:t>
              </a:r>
            </a:p>
          </p:txBody>
        </p:sp>
        <p:sp>
          <p:nvSpPr>
            <p:cNvPr id="13" name="Flowchart: Connector 12">
              <a:extLst>
                <a:ext uri="{FF2B5EF4-FFF2-40B4-BE49-F238E27FC236}">
                  <a16:creationId xmlns:a16="http://schemas.microsoft.com/office/drawing/2014/main" id="{A767DD13-50C7-C9E8-8F19-14673951EBD3}"/>
                </a:ext>
              </a:extLst>
            </p:cNvPr>
            <p:cNvSpPr/>
            <p:nvPr/>
          </p:nvSpPr>
          <p:spPr>
            <a:xfrm>
              <a:off x="6471175" y="1238798"/>
              <a:ext cx="122373" cy="128248"/>
            </a:xfrm>
            <a:prstGeom prst="flowChartConnector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style>
            <a:lnRef idx="2">
              <a:schemeClr val="accent3">
                <a:shade val="15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ID"/>
            </a:p>
          </p:txBody>
        </p:sp>
      </p:grp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14024EA2-9FDB-5DA2-9DAC-61227D88B2A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090368"/>
              </p:ext>
            </p:extLst>
          </p:nvPr>
        </p:nvGraphicFramePr>
        <p:xfrm>
          <a:off x="445613" y="1303437"/>
          <a:ext cx="6134499" cy="23903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id="{B31E7EF7-C79A-B63C-C2B6-5F46ECFABC5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rot="16200000">
            <a:off x="1606006" y="3326855"/>
            <a:ext cx="1687351" cy="4065498"/>
          </a:xfrm>
          <a:prstGeom prst="rect">
            <a:avLst/>
          </a:prstGeom>
        </p:spPr>
      </p:pic>
      <p:sp>
        <p:nvSpPr>
          <p:cNvPr id="14" name="Arrow: Right 13">
            <a:extLst>
              <a:ext uri="{FF2B5EF4-FFF2-40B4-BE49-F238E27FC236}">
                <a16:creationId xmlns:a16="http://schemas.microsoft.com/office/drawing/2014/main" id="{5E8D6000-40BB-1477-11F0-34C561A07D4D}"/>
              </a:ext>
            </a:extLst>
          </p:cNvPr>
          <p:cNvSpPr/>
          <p:nvPr/>
        </p:nvSpPr>
        <p:spPr>
          <a:xfrm rot="10800000" flipV="1">
            <a:off x="6972313" y="1813612"/>
            <a:ext cx="1823816" cy="904731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5F1BDBE3-179C-035D-C26D-8D3D1E7EF0A8}"/>
              </a:ext>
            </a:extLst>
          </p:cNvPr>
          <p:cNvSpPr/>
          <p:nvPr/>
        </p:nvSpPr>
        <p:spPr>
          <a:xfrm>
            <a:off x="9225141" y="1542962"/>
            <a:ext cx="2521246" cy="1446029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Pareto </a:t>
            </a:r>
            <a:r>
              <a:rPr lang="en-US" sz="1400" dirty="0" err="1"/>
              <a:t>turun</a:t>
            </a:r>
            <a:r>
              <a:rPr lang="en-US" sz="1400" dirty="0"/>
              <a:t> </a:t>
            </a:r>
            <a:r>
              <a:rPr lang="en-US" sz="1400" dirty="0" err="1"/>
              <a:t>signifikan</a:t>
            </a:r>
            <a:r>
              <a:rPr lang="en-US" sz="1400" dirty="0"/>
              <a:t> </a:t>
            </a:r>
            <a:r>
              <a:rPr lang="en-US" sz="1400" dirty="0" err="1"/>
              <a:t>setelah</a:t>
            </a:r>
            <a:r>
              <a:rPr lang="en-US" sz="1400" dirty="0"/>
              <a:t> </a:t>
            </a:r>
            <a:r>
              <a:rPr lang="en-US" sz="1400" dirty="0" err="1"/>
              <a:t>pelaksanaan</a:t>
            </a:r>
            <a:r>
              <a:rPr lang="en-US" sz="1400" dirty="0"/>
              <a:t> yang </a:t>
            </a:r>
            <a:r>
              <a:rPr lang="en-US" sz="1400" dirty="0" err="1"/>
              <a:t>menunjukkan</a:t>
            </a:r>
            <a:r>
              <a:rPr lang="en-US" sz="1400" dirty="0"/>
              <a:t> </a:t>
            </a:r>
            <a:r>
              <a:rPr lang="en-US" sz="1400" dirty="0" err="1"/>
              <a:t>bahwa</a:t>
            </a:r>
            <a:r>
              <a:rPr lang="en-US" sz="1400" dirty="0"/>
              <a:t> </a:t>
            </a:r>
            <a:r>
              <a:rPr lang="en-US" sz="1400" dirty="0" err="1"/>
              <a:t>solusi</a:t>
            </a:r>
            <a:r>
              <a:rPr lang="en-US" sz="1400" dirty="0"/>
              <a:t> sangat </a:t>
            </a:r>
            <a:r>
              <a:rPr lang="en-US" sz="1400" dirty="0" err="1"/>
              <a:t>mutakhir</a:t>
            </a:r>
            <a:endParaRPr lang="en-ID" sz="1400" dirty="0"/>
          </a:p>
        </p:txBody>
      </p:sp>
      <p:pic>
        <p:nvPicPr>
          <p:cNvPr id="8" name="Picture 7" descr="A black screen with white text&#10;&#10;Description automatically generated">
            <a:extLst>
              <a:ext uri="{FF2B5EF4-FFF2-40B4-BE49-F238E27FC236}">
                <a16:creationId xmlns:a16="http://schemas.microsoft.com/office/drawing/2014/main" id="{40ECBDCC-AD17-CB72-D907-217332745CF4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726" t="87519"/>
          <a:stretch/>
        </p:blipFill>
        <p:spPr>
          <a:xfrm>
            <a:off x="11584425" y="6477417"/>
            <a:ext cx="607574" cy="378163"/>
          </a:xfrm>
          <a:prstGeom prst="rect">
            <a:avLst/>
          </a:prstGeom>
        </p:spPr>
      </p:pic>
      <p:pic>
        <p:nvPicPr>
          <p:cNvPr id="9" name="Picture 8" descr="A black screen with white text&#10;&#10;Description automatically generated">
            <a:extLst>
              <a:ext uri="{FF2B5EF4-FFF2-40B4-BE49-F238E27FC236}">
                <a16:creationId xmlns:a16="http://schemas.microsoft.com/office/drawing/2014/main" id="{74C09962-AA5C-54C0-C586-EF46AB38B7FC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311" r="78841"/>
          <a:stretch/>
        </p:blipFill>
        <p:spPr>
          <a:xfrm>
            <a:off x="0" y="6478090"/>
            <a:ext cx="1425463" cy="388376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D5BE2B93-A697-5059-4A60-5992989B7203}"/>
              </a:ext>
            </a:extLst>
          </p:cNvPr>
          <p:cNvSpPr txBox="1"/>
          <p:nvPr/>
        </p:nvSpPr>
        <p:spPr>
          <a:xfrm>
            <a:off x="854744" y="188835"/>
            <a:ext cx="10482511" cy="56188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sz="2800" b="1" dirty="0" err="1">
                <a:solidFill>
                  <a:srgbClr val="0C345B"/>
                </a:solidFill>
                <a:latin typeface="Futura Medium" panose="020B0602020204020303" pitchFamily="34" charset="-79"/>
                <a:cs typeface="FUTURA MEDIUM" panose="020B0602020204020303" pitchFamily="34" charset="-79"/>
              </a:rPr>
              <a:t>Evaluasi</a:t>
            </a:r>
            <a:r>
              <a:rPr lang="en-US" sz="2800" b="1" dirty="0">
                <a:solidFill>
                  <a:srgbClr val="0C345B"/>
                </a:solidFill>
                <a:latin typeface="Futura Medium" panose="020B0602020204020303" pitchFamily="34" charset="-79"/>
                <a:cs typeface="FUTURA MEDIUM" panose="020B0602020204020303" pitchFamily="34" charset="-79"/>
              </a:rPr>
              <a:t> Hasil</a:t>
            </a:r>
            <a:endParaRPr lang="en-US" sz="2800" dirty="0">
              <a:solidFill>
                <a:srgbClr val="0C345B"/>
              </a:solidFill>
              <a:latin typeface="Futura Medium" panose="020B0602020204020303" pitchFamily="34" charset="-79"/>
              <a:cs typeface="Futura Medium" panose="020B0602020204020303" pitchFamily="34" charset="-79"/>
            </a:endParaRPr>
          </a:p>
        </p:txBody>
      </p:sp>
    </p:spTree>
    <p:extLst>
      <p:ext uri="{BB962C8B-B14F-4D97-AF65-F5344CB8AC3E}">
        <p14:creationId xmlns:p14="http://schemas.microsoft.com/office/powerpoint/2010/main" val="427196823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EC04870-963B-A458-45B5-0A3741049D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roup 34">
            <a:extLst>
              <a:ext uri="{FF2B5EF4-FFF2-40B4-BE49-F238E27FC236}">
                <a16:creationId xmlns:a16="http://schemas.microsoft.com/office/drawing/2014/main" id="{58634AC2-6A07-2927-DBDB-3129C08643AA}"/>
              </a:ext>
            </a:extLst>
          </p:cNvPr>
          <p:cNvGrpSpPr/>
          <p:nvPr/>
        </p:nvGrpSpPr>
        <p:grpSpPr>
          <a:xfrm>
            <a:off x="-29941" y="23129"/>
            <a:ext cx="12251882" cy="6858000"/>
            <a:chOff x="105698" y="672372"/>
            <a:chExt cx="12251882" cy="6858000"/>
          </a:xfrm>
        </p:grpSpPr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25533788-EDAA-B51D-CE88-005A1333C693}"/>
                </a:ext>
              </a:extLst>
            </p:cNvPr>
            <p:cNvSpPr/>
            <p:nvPr/>
          </p:nvSpPr>
          <p:spPr>
            <a:xfrm>
              <a:off x="159696" y="672372"/>
              <a:ext cx="12197884" cy="6858000"/>
            </a:xfrm>
            <a:prstGeom prst="rect">
              <a:avLst/>
            </a:prstGeom>
            <a:gradFill>
              <a:gsLst>
                <a:gs pos="0">
                  <a:schemeClr val="accent1">
                    <a:lumMod val="5000"/>
                    <a:lumOff val="95000"/>
                    <a:alpha val="0"/>
                  </a:schemeClr>
                </a:gs>
                <a:gs pos="97000">
                  <a:srgbClr val="A6E1BD">
                    <a:alpha val="42115"/>
                  </a:srgbClr>
                </a:gs>
              </a:gsLst>
              <a:lin ang="4200000" scaled="0"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cs typeface="Futura Medium" panose="020B0602020204020303"/>
              </a:endParaRPr>
            </a:p>
          </p:txBody>
        </p:sp>
        <p:pic>
          <p:nvPicPr>
            <p:cNvPr id="37" name="Picture 36">
              <a:extLst>
                <a:ext uri="{FF2B5EF4-FFF2-40B4-BE49-F238E27FC236}">
                  <a16:creationId xmlns:a16="http://schemas.microsoft.com/office/drawing/2014/main" id="{58E43289-7CE6-32D3-56C1-F2E5C449098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5698" y="672372"/>
              <a:ext cx="12192000" cy="6858000"/>
            </a:xfrm>
            <a:prstGeom prst="rect">
              <a:avLst/>
            </a:prstGeom>
          </p:spPr>
        </p:pic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FEBF3EFB-4990-6EA5-53F5-879F78902BD3}"/>
              </a:ext>
            </a:extLst>
          </p:cNvPr>
          <p:cNvGrpSpPr/>
          <p:nvPr/>
        </p:nvGrpSpPr>
        <p:grpSpPr>
          <a:xfrm>
            <a:off x="0" y="-6002"/>
            <a:ext cx="1439008" cy="463236"/>
            <a:chOff x="93023" y="-6002"/>
            <a:chExt cx="1439008" cy="463236"/>
          </a:xfrm>
        </p:grpSpPr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08BDBA0B-4E24-AE40-747A-D8054CC428C8}"/>
                </a:ext>
              </a:extLst>
            </p:cNvPr>
            <p:cNvGrpSpPr/>
            <p:nvPr/>
          </p:nvGrpSpPr>
          <p:grpSpPr>
            <a:xfrm>
              <a:off x="93023" y="-6002"/>
              <a:ext cx="1439008" cy="463236"/>
              <a:chOff x="6171866" y="126174"/>
              <a:chExt cx="1126238" cy="369332"/>
            </a:xfrm>
          </p:grpSpPr>
          <p:pic>
            <p:nvPicPr>
              <p:cNvPr id="54" name="Picture 53">
                <a:extLst>
                  <a:ext uri="{FF2B5EF4-FFF2-40B4-BE49-F238E27FC236}">
                    <a16:creationId xmlns:a16="http://schemas.microsoft.com/office/drawing/2014/main" id="{31D6BB7F-D44F-D830-7A3B-8576905E3FB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74148" b="84200"/>
              <a:stretch/>
            </p:blipFill>
            <p:spPr>
              <a:xfrm flipH="1">
                <a:off x="6171866" y="126174"/>
                <a:ext cx="1126238" cy="369332"/>
              </a:xfrm>
              <a:prstGeom prst="rect">
                <a:avLst/>
              </a:prstGeom>
              <a:effectLst>
                <a:outerShdw blurRad="50800" dist="38100" dir="8100000" algn="tr" rotWithShape="0">
                  <a:prstClr val="black">
                    <a:alpha val="40000"/>
                  </a:prstClr>
                </a:outerShdw>
              </a:effectLst>
            </p:spPr>
          </p:pic>
          <p:sp>
            <p:nvSpPr>
              <p:cNvPr id="55" name="Rectangle 54">
                <a:extLst>
                  <a:ext uri="{FF2B5EF4-FFF2-40B4-BE49-F238E27FC236}">
                    <a16:creationId xmlns:a16="http://schemas.microsoft.com/office/drawing/2014/main" id="{A2A68338-944E-2C6F-17F4-A8C80723BF6D}"/>
                  </a:ext>
                </a:extLst>
              </p:cNvPr>
              <p:cNvSpPr/>
              <p:nvPr/>
            </p:nvSpPr>
            <p:spPr>
              <a:xfrm>
                <a:off x="6271117" y="143647"/>
                <a:ext cx="771525" cy="23857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/>
              </a:p>
            </p:txBody>
          </p:sp>
        </p:grpSp>
        <p:pic>
          <p:nvPicPr>
            <p:cNvPr id="53" name="Picture 52" descr="A black background with a black square&#10;&#10;AI-generated content may be incorrect.">
              <a:extLst>
                <a:ext uri="{FF2B5EF4-FFF2-40B4-BE49-F238E27FC236}">
                  <a16:creationId xmlns:a16="http://schemas.microsoft.com/office/drawing/2014/main" id="{246F7E72-FC3C-9C62-6776-D6C76215E10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9837" y="48823"/>
              <a:ext cx="934769" cy="233412"/>
            </a:xfrm>
            <a:prstGeom prst="rect">
              <a:avLst/>
            </a:prstGeom>
          </p:spPr>
        </p:pic>
      </p:grpSp>
      <p:sp>
        <p:nvSpPr>
          <p:cNvPr id="3" name="TextBox 1">
            <a:extLst>
              <a:ext uri="{FF2B5EF4-FFF2-40B4-BE49-F238E27FC236}">
                <a16:creationId xmlns:a16="http://schemas.microsoft.com/office/drawing/2014/main" id="{7A836208-F940-8146-6D4C-5D49CD498D3F}"/>
              </a:ext>
            </a:extLst>
          </p:cNvPr>
          <p:cNvSpPr txBox="1"/>
          <p:nvPr/>
        </p:nvSpPr>
        <p:spPr>
          <a:xfrm>
            <a:off x="3555472" y="1227306"/>
            <a:ext cx="8299756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en-US" sz="1400" err="1">
                <a:latin typeface="Aptos" panose="020B0004020202020204" pitchFamily="34" charset="0"/>
              </a:rPr>
              <a:t>Aplikasi</a:t>
            </a:r>
            <a:r>
              <a:rPr lang="en-US" sz="1400">
                <a:latin typeface="Aptos" panose="020B0004020202020204" pitchFamily="34" charset="0"/>
              </a:rPr>
              <a:t> IDMS di deploy di server local RU VII </a:t>
            </a:r>
            <a:r>
              <a:rPr lang="en-US" sz="1400" err="1">
                <a:latin typeface="Aptos" panose="020B0004020202020204" pitchFamily="34" charset="0"/>
              </a:rPr>
              <a:t>dengan</a:t>
            </a:r>
            <a:r>
              <a:rPr lang="en-US" sz="1400">
                <a:latin typeface="Aptos" panose="020B0004020202020204" pitchFamily="34" charset="0"/>
              </a:rPr>
              <a:t> </a:t>
            </a:r>
            <a:r>
              <a:rPr lang="en-US" sz="1400" err="1">
                <a:latin typeface="Aptos" panose="020B0004020202020204" pitchFamily="34" charset="0"/>
              </a:rPr>
              <a:t>virtualisasi</a:t>
            </a:r>
            <a:r>
              <a:rPr lang="en-US" sz="1400">
                <a:latin typeface="Aptos" panose="020B0004020202020204" pitchFamily="34" charset="0"/>
              </a:rPr>
              <a:t> server (VM) di EPIC Mirosite RU VII Kasim</a:t>
            </a:r>
          </a:p>
          <a:p>
            <a:pPr algn="just"/>
            <a:r>
              <a:rPr lang="en-US" sz="1400" err="1">
                <a:latin typeface="Aptos" panose="020B0004020202020204" pitchFamily="34" charset="0"/>
              </a:rPr>
              <a:t>Infrastruktur</a:t>
            </a:r>
            <a:r>
              <a:rPr lang="en-US" sz="1400">
                <a:latin typeface="Aptos" panose="020B0004020202020204" pitchFamily="34" charset="0"/>
              </a:rPr>
              <a:t> Server </a:t>
            </a:r>
            <a:r>
              <a:rPr lang="en-US" sz="1400" err="1">
                <a:latin typeface="Aptos" panose="020B0004020202020204" pitchFamily="34" charset="0"/>
              </a:rPr>
              <a:t>mengacu</a:t>
            </a:r>
            <a:r>
              <a:rPr lang="en-US" sz="1400">
                <a:latin typeface="Aptos" panose="020B0004020202020204" pitchFamily="34" charset="0"/>
              </a:rPr>
              <a:t> </a:t>
            </a:r>
            <a:r>
              <a:rPr lang="en-US" sz="1400" err="1">
                <a:latin typeface="Aptos" panose="020B0004020202020204" pitchFamily="34" charset="0"/>
              </a:rPr>
              <a:t>kepada</a:t>
            </a:r>
            <a:r>
              <a:rPr lang="en-US" sz="1400">
                <a:latin typeface="Aptos" panose="020B0004020202020204" pitchFamily="34" charset="0"/>
              </a:rPr>
              <a:t> </a:t>
            </a:r>
            <a:r>
              <a:rPr lang="en-US" sz="1400" err="1">
                <a:latin typeface="Aptos" panose="020B0004020202020204" pitchFamily="34" charset="0"/>
              </a:rPr>
              <a:t>pedoman</a:t>
            </a:r>
            <a:r>
              <a:rPr lang="en-US" sz="1400">
                <a:latin typeface="Aptos" panose="020B0004020202020204" pitchFamily="34" charset="0"/>
              </a:rPr>
              <a:t> A-008/H00000/2018-S9 </a:t>
            </a:r>
            <a:r>
              <a:rPr lang="en-US" sz="1400" err="1">
                <a:latin typeface="Aptos" panose="020B0004020202020204" pitchFamily="34" charset="0"/>
              </a:rPr>
              <a:t>perihal</a:t>
            </a:r>
            <a:r>
              <a:rPr lang="en-US" sz="1400">
                <a:latin typeface="Aptos" panose="020B0004020202020204" pitchFamily="34" charset="0"/>
              </a:rPr>
              <a:t> </a:t>
            </a:r>
            <a:r>
              <a:rPr lang="en-US" sz="1400" err="1">
                <a:latin typeface="Aptos" panose="020B0004020202020204" pitchFamily="34" charset="0"/>
              </a:rPr>
              <a:t>Pedoman</a:t>
            </a:r>
            <a:r>
              <a:rPr lang="en-US" sz="1400">
                <a:latin typeface="Aptos" panose="020B0004020202020204" pitchFamily="34" charset="0"/>
              </a:rPr>
              <a:t> </a:t>
            </a:r>
            <a:r>
              <a:rPr lang="en-US" sz="1400" err="1">
                <a:latin typeface="Aptos" panose="020B0004020202020204" pitchFamily="34" charset="0"/>
              </a:rPr>
              <a:t>Pengamanan</a:t>
            </a:r>
            <a:r>
              <a:rPr lang="en-US" sz="1400">
                <a:latin typeface="Aptos" panose="020B0004020202020204" pitchFamily="34" charset="0"/>
              </a:rPr>
              <a:t> </a:t>
            </a:r>
            <a:r>
              <a:rPr lang="en-US" sz="1400" err="1">
                <a:latin typeface="Aptos" panose="020B0004020202020204" pitchFamily="34" charset="0"/>
              </a:rPr>
              <a:t>Infrastruktur</a:t>
            </a:r>
            <a:r>
              <a:rPr lang="en-US" sz="1400">
                <a:latin typeface="Aptos" panose="020B0004020202020204" pitchFamily="34" charset="0"/>
              </a:rPr>
              <a:t> TIK</a:t>
            </a:r>
            <a:endParaRPr lang="en-ID" sz="1400">
              <a:latin typeface="Aptos" panose="020B000402020202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120A0B3-B2AE-EF9F-BA12-D37E32CFA81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53645" y="1227306"/>
            <a:ext cx="3204167" cy="3848793"/>
          </a:xfrm>
          <a:prstGeom prst="rect">
            <a:avLst/>
          </a:prstGeom>
        </p:spPr>
      </p:pic>
      <p:sp>
        <p:nvSpPr>
          <p:cNvPr id="5" name="TextBox 16">
            <a:extLst>
              <a:ext uri="{FF2B5EF4-FFF2-40B4-BE49-F238E27FC236}">
                <a16:creationId xmlns:a16="http://schemas.microsoft.com/office/drawing/2014/main" id="{3D9BCF1C-C667-4FEC-85DF-D23381CA1154}"/>
              </a:ext>
            </a:extLst>
          </p:cNvPr>
          <p:cNvSpPr txBox="1"/>
          <p:nvPr/>
        </p:nvSpPr>
        <p:spPr>
          <a:xfrm>
            <a:off x="3555472" y="2241771"/>
            <a:ext cx="8206229" cy="397031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buNone/>
            </a:pPr>
            <a:r>
              <a:rPr lang="en-ID" sz="1400" err="1"/>
              <a:t>Aspek</a:t>
            </a:r>
            <a:r>
              <a:rPr lang="en-ID" sz="1400"/>
              <a:t> cybersecurity pada server sangat </a:t>
            </a:r>
            <a:r>
              <a:rPr lang="en-ID" sz="1400" err="1"/>
              <a:t>penting</a:t>
            </a:r>
            <a:r>
              <a:rPr lang="en-ID" sz="1400"/>
              <a:t> </a:t>
            </a:r>
            <a:r>
              <a:rPr lang="en-ID" sz="1400" err="1"/>
              <a:t>untuk</a:t>
            </a:r>
            <a:r>
              <a:rPr lang="en-ID" sz="1400"/>
              <a:t> </a:t>
            </a:r>
            <a:r>
              <a:rPr lang="en-ID" sz="1400" err="1"/>
              <a:t>menjaga</a:t>
            </a:r>
            <a:r>
              <a:rPr lang="en-ID" sz="1400"/>
              <a:t> </a:t>
            </a:r>
            <a:r>
              <a:rPr lang="en-ID" sz="1400" err="1"/>
              <a:t>integritas</a:t>
            </a:r>
            <a:r>
              <a:rPr lang="en-ID" sz="1400"/>
              <a:t>, </a:t>
            </a:r>
            <a:r>
              <a:rPr lang="en-ID" sz="1400" err="1"/>
              <a:t>kerahasiaan</a:t>
            </a:r>
            <a:r>
              <a:rPr lang="en-ID" sz="1400"/>
              <a:t>, dan </a:t>
            </a:r>
            <a:r>
              <a:rPr lang="en-ID" sz="1400" err="1"/>
              <a:t>ketersediaan</a:t>
            </a:r>
            <a:r>
              <a:rPr lang="en-ID" sz="1400"/>
              <a:t> data </a:t>
            </a:r>
            <a:r>
              <a:rPr lang="en-ID" sz="1400" err="1"/>
              <a:t>serta</a:t>
            </a:r>
            <a:r>
              <a:rPr lang="en-ID" sz="1400"/>
              <a:t> </a:t>
            </a:r>
            <a:r>
              <a:rPr lang="en-ID" sz="1400" err="1"/>
              <a:t>layanan</a:t>
            </a:r>
            <a:r>
              <a:rPr lang="en-ID" sz="1400"/>
              <a:t>. </a:t>
            </a:r>
            <a:r>
              <a:rPr lang="en-ID" sz="1400" err="1"/>
              <a:t>Berikut</a:t>
            </a:r>
            <a:r>
              <a:rPr lang="en-ID" sz="1400"/>
              <a:t> </a:t>
            </a:r>
            <a:r>
              <a:rPr lang="en-ID" sz="1400" err="1"/>
              <a:t>adalah</a:t>
            </a:r>
            <a:r>
              <a:rPr lang="en-ID" sz="1400"/>
              <a:t> </a:t>
            </a:r>
            <a:r>
              <a:rPr lang="en-ID" sz="1400" err="1"/>
              <a:t>beberapa</a:t>
            </a:r>
            <a:r>
              <a:rPr lang="en-ID" sz="1400"/>
              <a:t> </a:t>
            </a:r>
            <a:r>
              <a:rPr lang="en-ID" sz="1400" err="1"/>
              <a:t>aspek</a:t>
            </a:r>
            <a:r>
              <a:rPr lang="en-ID" sz="1400"/>
              <a:t> </a:t>
            </a:r>
            <a:r>
              <a:rPr lang="en-ID" sz="1400" err="1"/>
              <a:t>keamanan</a:t>
            </a:r>
            <a:r>
              <a:rPr lang="en-ID" sz="1400"/>
              <a:t> server RU VII Kasim</a:t>
            </a:r>
          </a:p>
          <a:p>
            <a:pPr algn="just">
              <a:buNone/>
            </a:pPr>
            <a:br>
              <a:rPr lang="en-ID" sz="1400"/>
            </a:br>
            <a:r>
              <a:rPr lang="en-ID" sz="1400" b="1"/>
              <a:t>1. </a:t>
            </a:r>
            <a:r>
              <a:rPr lang="en-ID" sz="1400" b="1" err="1"/>
              <a:t>Keamanan</a:t>
            </a:r>
            <a:r>
              <a:rPr lang="en-ID" sz="1400" b="1"/>
              <a:t> </a:t>
            </a:r>
            <a:r>
              <a:rPr lang="en-ID" sz="1400" b="1" err="1"/>
              <a:t>Fisik</a:t>
            </a:r>
            <a:r>
              <a:rPr lang="en-ID" sz="1400" b="1"/>
              <a:t> dan Akses</a:t>
            </a:r>
          </a:p>
          <a:p>
            <a:pPr algn="just">
              <a:buFont typeface="Arial" panose="020B0604020202020204" pitchFamily="34" charset="0"/>
              <a:buChar char="•"/>
            </a:pPr>
            <a:r>
              <a:rPr lang="en-ID" sz="1400" b="1"/>
              <a:t> </a:t>
            </a:r>
            <a:r>
              <a:rPr lang="en-ID" sz="1400" err="1"/>
              <a:t>Kontrol</a:t>
            </a:r>
            <a:r>
              <a:rPr lang="en-ID" sz="1400"/>
              <a:t> </a:t>
            </a:r>
            <a:r>
              <a:rPr lang="en-ID" sz="1400" err="1"/>
              <a:t>akses</a:t>
            </a:r>
            <a:r>
              <a:rPr lang="en-ID" sz="1400"/>
              <a:t> </a:t>
            </a:r>
            <a:r>
              <a:rPr lang="en-ID" sz="1400" err="1"/>
              <a:t>fisik</a:t>
            </a:r>
            <a:r>
              <a:rPr lang="en-ID" sz="1400"/>
              <a:t> </a:t>
            </a:r>
            <a:r>
              <a:rPr lang="en-ID" sz="1400" err="1"/>
              <a:t>ke</a:t>
            </a:r>
            <a:r>
              <a:rPr lang="en-ID" sz="1400"/>
              <a:t> data </a:t>
            </a:r>
            <a:r>
              <a:rPr lang="en-ID" sz="1400" err="1"/>
              <a:t>center</a:t>
            </a:r>
            <a:r>
              <a:rPr lang="en-ID" sz="1400"/>
              <a:t>/server room.</a:t>
            </a:r>
          </a:p>
          <a:p>
            <a:pPr algn="just">
              <a:buFont typeface="Arial" panose="020B0604020202020204" pitchFamily="34" charset="0"/>
              <a:buChar char="•"/>
            </a:pPr>
            <a:r>
              <a:rPr lang="en-ID" sz="1400"/>
              <a:t> </a:t>
            </a:r>
            <a:r>
              <a:rPr lang="en-ID" sz="1400" err="1"/>
              <a:t>Autentikasi</a:t>
            </a:r>
            <a:r>
              <a:rPr lang="en-ID" sz="1400"/>
              <a:t> </a:t>
            </a:r>
            <a:r>
              <a:rPr lang="en-ID" sz="1400" err="1"/>
              <a:t>pengguna</a:t>
            </a:r>
            <a:r>
              <a:rPr lang="en-ID" sz="1400"/>
              <a:t> (MFA).</a:t>
            </a:r>
          </a:p>
          <a:p>
            <a:pPr algn="just">
              <a:buFont typeface="Arial" panose="020B0604020202020204" pitchFamily="34" charset="0"/>
              <a:buChar char="•"/>
            </a:pPr>
            <a:r>
              <a:rPr lang="en-ID" sz="1400"/>
              <a:t> </a:t>
            </a:r>
            <a:r>
              <a:rPr lang="en-ID" sz="1400" err="1"/>
              <a:t>Manajemen</a:t>
            </a:r>
            <a:r>
              <a:rPr lang="en-ID" sz="1400"/>
              <a:t> </a:t>
            </a:r>
            <a:r>
              <a:rPr lang="en-ID" sz="1400" err="1"/>
              <a:t>hak</a:t>
            </a:r>
            <a:r>
              <a:rPr lang="en-ID" sz="1400"/>
              <a:t> </a:t>
            </a:r>
            <a:r>
              <a:rPr lang="en-ID" sz="1400" err="1"/>
              <a:t>akses</a:t>
            </a:r>
            <a:r>
              <a:rPr lang="en-ID" sz="1400"/>
              <a:t> </a:t>
            </a:r>
            <a:r>
              <a:rPr lang="en-ID" sz="1400" err="1"/>
              <a:t>berdasarkan</a:t>
            </a:r>
            <a:r>
              <a:rPr lang="en-ID" sz="1400"/>
              <a:t> </a:t>
            </a:r>
            <a:r>
              <a:rPr lang="en-ID" sz="1400" err="1"/>
              <a:t>peran</a:t>
            </a:r>
            <a:r>
              <a:rPr lang="en-ID" sz="1400"/>
              <a:t> (role-based access control).</a:t>
            </a:r>
          </a:p>
          <a:p>
            <a:pPr algn="just">
              <a:buNone/>
            </a:pPr>
            <a:br>
              <a:rPr lang="en-ID" sz="1400"/>
            </a:br>
            <a:r>
              <a:rPr lang="en-ID" sz="1400" b="1"/>
              <a:t>2. </a:t>
            </a:r>
            <a:r>
              <a:rPr lang="en-ID" sz="1400" b="1" err="1"/>
              <a:t>Keamanan</a:t>
            </a:r>
            <a:r>
              <a:rPr lang="en-ID" sz="1400" b="1"/>
              <a:t> </a:t>
            </a:r>
            <a:r>
              <a:rPr lang="en-ID" sz="1400" b="1" err="1"/>
              <a:t>Jaringan</a:t>
            </a:r>
            <a:endParaRPr lang="en-ID" sz="1400" b="1"/>
          </a:p>
          <a:p>
            <a:pPr algn="just">
              <a:buFont typeface="Arial" panose="020B0604020202020204" pitchFamily="34" charset="0"/>
              <a:buChar char="•"/>
            </a:pPr>
            <a:r>
              <a:rPr lang="en-ID" sz="1400"/>
              <a:t> </a:t>
            </a:r>
            <a:r>
              <a:rPr lang="en-ID" sz="1400" err="1"/>
              <a:t>Penggunaan</a:t>
            </a:r>
            <a:r>
              <a:rPr lang="en-ID" sz="1400"/>
              <a:t> firewall dan intrusion detection/prevention systems (IDS/IPS) yang </a:t>
            </a:r>
            <a:r>
              <a:rPr lang="en-ID" sz="1400" err="1"/>
              <a:t>saat</a:t>
            </a:r>
            <a:r>
              <a:rPr lang="en-ID" sz="1400"/>
              <a:t> </a:t>
            </a:r>
            <a:r>
              <a:rPr lang="en-ID" sz="1400" err="1"/>
              <a:t>ini</a:t>
            </a:r>
            <a:r>
              <a:rPr lang="en-ID" sz="1400"/>
              <a:t> </a:t>
            </a:r>
            <a:r>
              <a:rPr lang="en-ID" sz="1400" err="1"/>
              <a:t>sudah</a:t>
            </a:r>
            <a:r>
              <a:rPr lang="en-ID" sz="1400"/>
              <a:t> </a:t>
            </a:r>
            <a:r>
              <a:rPr lang="en-ID" sz="1400" err="1"/>
              <a:t>terinstall</a:t>
            </a:r>
            <a:r>
              <a:rPr lang="en-ID" sz="1400"/>
              <a:t> di </a:t>
            </a:r>
            <a:r>
              <a:rPr lang="en-ID" sz="1400" err="1"/>
              <a:t>jaringan</a:t>
            </a:r>
            <a:r>
              <a:rPr lang="en-ID" sz="1400"/>
              <a:t> RU VII Kasim.</a:t>
            </a:r>
          </a:p>
          <a:p>
            <a:pPr algn="just">
              <a:buFont typeface="Arial" panose="020B0604020202020204" pitchFamily="34" charset="0"/>
              <a:buChar char="•"/>
            </a:pPr>
            <a:r>
              <a:rPr lang="en-ID" sz="1400" b="1"/>
              <a:t> </a:t>
            </a:r>
            <a:r>
              <a:rPr lang="en-ID" sz="1400" err="1"/>
              <a:t>Segregasi</a:t>
            </a:r>
            <a:r>
              <a:rPr lang="en-ID" sz="1400"/>
              <a:t> </a:t>
            </a:r>
            <a:r>
              <a:rPr lang="en-ID" sz="1400" err="1"/>
              <a:t>jaringan</a:t>
            </a:r>
            <a:r>
              <a:rPr lang="en-ID" sz="1400"/>
              <a:t> </a:t>
            </a:r>
            <a:r>
              <a:rPr lang="en-ID" sz="1400" err="1"/>
              <a:t>untuk</a:t>
            </a:r>
            <a:r>
              <a:rPr lang="en-ID" sz="1400"/>
              <a:t> server</a:t>
            </a:r>
          </a:p>
          <a:p>
            <a:pPr algn="just">
              <a:buNone/>
            </a:pPr>
            <a:br>
              <a:rPr lang="en-ID" sz="1400"/>
            </a:br>
            <a:r>
              <a:rPr lang="en-ID" sz="1400" b="1"/>
              <a:t>3. Patch dan Update </a:t>
            </a:r>
            <a:r>
              <a:rPr lang="en-ID" sz="1400" b="1" err="1"/>
              <a:t>Sistem</a:t>
            </a:r>
            <a:endParaRPr lang="en-ID" sz="1400" b="1"/>
          </a:p>
          <a:p>
            <a:pPr algn="just">
              <a:buFont typeface="Arial" panose="020B0604020202020204" pitchFamily="34" charset="0"/>
              <a:buChar char="•"/>
            </a:pPr>
            <a:r>
              <a:rPr lang="en-ID" sz="1400"/>
              <a:t> Microsite RU VII Kasim rutin </a:t>
            </a:r>
            <a:r>
              <a:rPr lang="en-ID" sz="1400" err="1"/>
              <a:t>melakukan</a:t>
            </a:r>
            <a:r>
              <a:rPr lang="en-ID" sz="1400"/>
              <a:t> </a:t>
            </a:r>
            <a:r>
              <a:rPr lang="en-ID" sz="1400" b="1"/>
              <a:t>update OS dan </a:t>
            </a:r>
            <a:r>
              <a:rPr lang="en-ID" sz="1400" b="1" err="1"/>
              <a:t>aplikasi</a:t>
            </a:r>
            <a:r>
              <a:rPr lang="en-ID" sz="1400"/>
              <a:t> </a:t>
            </a:r>
            <a:r>
              <a:rPr lang="en-ID" sz="1400" err="1"/>
              <a:t>untuk</a:t>
            </a:r>
            <a:r>
              <a:rPr lang="en-ID" sz="1400"/>
              <a:t> </a:t>
            </a:r>
            <a:r>
              <a:rPr lang="en-ID" sz="1400" err="1"/>
              <a:t>menutup</a:t>
            </a:r>
            <a:r>
              <a:rPr lang="en-ID" sz="1400"/>
              <a:t> </a:t>
            </a:r>
            <a:r>
              <a:rPr lang="en-ID" sz="1400" err="1"/>
              <a:t>celah</a:t>
            </a:r>
            <a:r>
              <a:rPr lang="en-ID" sz="1400"/>
              <a:t> </a:t>
            </a:r>
            <a:r>
              <a:rPr lang="en-ID" sz="1400" err="1"/>
              <a:t>keamanan</a:t>
            </a:r>
            <a:r>
              <a:rPr lang="en-ID" sz="1400"/>
              <a:t>.</a:t>
            </a:r>
            <a:br>
              <a:rPr lang="en-ID" sz="1400"/>
            </a:br>
            <a:endParaRPr lang="en-ID" sz="1400"/>
          </a:p>
          <a:p>
            <a:pPr algn="just">
              <a:buNone/>
            </a:pPr>
            <a:r>
              <a:rPr lang="en-ID" sz="1400" b="1"/>
              <a:t>4. Backup dan Restore</a:t>
            </a:r>
          </a:p>
          <a:p>
            <a:pPr algn="just">
              <a:buFont typeface="Arial" panose="020B0604020202020204" pitchFamily="34" charset="0"/>
              <a:buChar char="•"/>
            </a:pPr>
            <a:r>
              <a:rPr lang="en-ID" sz="1400"/>
              <a:t> Telah </a:t>
            </a:r>
            <a:r>
              <a:rPr lang="en-ID" sz="1400" err="1"/>
              <a:t>dilakukan</a:t>
            </a:r>
            <a:r>
              <a:rPr lang="en-ID" sz="1400"/>
              <a:t> backup data </a:t>
            </a:r>
            <a:r>
              <a:rPr lang="en-ID" sz="1400" err="1"/>
              <a:t>secara</a:t>
            </a:r>
            <a:r>
              <a:rPr lang="en-ID" sz="1400"/>
              <a:t> </a:t>
            </a:r>
            <a:r>
              <a:rPr lang="en-ID" sz="1400" b="1" err="1"/>
              <a:t>berkala</a:t>
            </a:r>
            <a:r>
              <a:rPr lang="en-ID" sz="1400" b="1"/>
              <a:t> dan </a:t>
            </a:r>
            <a:r>
              <a:rPr lang="en-ID" sz="1400" b="1" err="1"/>
              <a:t>terenkripsi</a:t>
            </a:r>
            <a:r>
              <a:rPr lang="en-ID" sz="1400"/>
              <a:t>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61CCF11-5F7D-50E7-4827-6BBD4669BBA1}"/>
              </a:ext>
            </a:extLst>
          </p:cNvPr>
          <p:cNvSpPr txBox="1"/>
          <p:nvPr/>
        </p:nvSpPr>
        <p:spPr>
          <a:xfrm>
            <a:off x="1439008" y="456754"/>
            <a:ext cx="9629841" cy="494751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>
              <a:lnSpc>
                <a:spcPct val="120000"/>
              </a:lnSpc>
            </a:pPr>
            <a:r>
              <a:rPr lang="en-US" sz="2400" b="1" dirty="0" err="1">
                <a:solidFill>
                  <a:srgbClr val="0C345B"/>
                </a:solidFill>
                <a:latin typeface="Futura Medium" panose="020B0602020204020303" pitchFamily="34" charset="-79"/>
                <a:cs typeface="FUTURA MEDIUM" panose="020B0602020204020303" pitchFamily="34" charset="-79"/>
              </a:rPr>
              <a:t>Standarisasi</a:t>
            </a:r>
            <a:r>
              <a:rPr lang="en-US" sz="2400" b="1" dirty="0">
                <a:solidFill>
                  <a:srgbClr val="0C345B"/>
                </a:solidFill>
                <a:latin typeface="Futura Medium" panose="020B0602020204020303" pitchFamily="34" charset="-79"/>
                <a:cs typeface="FUTURA MEDIUM" panose="020B0602020204020303" pitchFamily="34" charset="-79"/>
              </a:rPr>
              <a:t> </a:t>
            </a:r>
            <a:r>
              <a:rPr lang="en-US" sz="2400" b="1" dirty="0" err="1">
                <a:solidFill>
                  <a:srgbClr val="0C345B"/>
                </a:solidFill>
                <a:latin typeface="Futura Medium" panose="020B0602020204020303" pitchFamily="34" charset="-79"/>
                <a:cs typeface="FUTURA MEDIUM" panose="020B0602020204020303" pitchFamily="34" charset="-79"/>
              </a:rPr>
              <a:t>Aspek</a:t>
            </a:r>
            <a:r>
              <a:rPr lang="en-US" sz="2400" b="1" dirty="0">
                <a:solidFill>
                  <a:srgbClr val="0C345B"/>
                </a:solidFill>
                <a:latin typeface="Futura Medium" panose="020B0602020204020303" pitchFamily="34" charset="-79"/>
                <a:cs typeface="FUTURA MEDIUM" panose="020B0602020204020303" pitchFamily="34" charset="-79"/>
              </a:rPr>
              <a:t> </a:t>
            </a:r>
            <a:r>
              <a:rPr lang="en-US" sz="2400" b="1" dirty="0" err="1">
                <a:solidFill>
                  <a:srgbClr val="0C345B"/>
                </a:solidFill>
                <a:latin typeface="Futura Medium" panose="020B0602020204020303" pitchFamily="34" charset="-79"/>
                <a:cs typeface="FUTURA MEDIUM" panose="020B0602020204020303" pitchFamily="34" charset="-79"/>
              </a:rPr>
              <a:t>Keamanan</a:t>
            </a:r>
            <a:r>
              <a:rPr lang="en-US" sz="2400" b="1" dirty="0">
                <a:solidFill>
                  <a:srgbClr val="0C345B"/>
                </a:solidFill>
                <a:latin typeface="Futura Medium" panose="020B0602020204020303" pitchFamily="34" charset="-79"/>
                <a:cs typeface="FUTURA MEDIUM" panose="020B0602020204020303" pitchFamily="34" charset="-79"/>
              </a:rPr>
              <a:t> </a:t>
            </a:r>
            <a:r>
              <a:rPr lang="en-US" sz="2400" b="1" dirty="0" err="1">
                <a:solidFill>
                  <a:srgbClr val="0C345B"/>
                </a:solidFill>
                <a:latin typeface="Futura Medium" panose="020B0602020204020303" pitchFamily="34" charset="-79"/>
                <a:cs typeface="FUTURA MEDIUM" panose="020B0602020204020303" pitchFamily="34" charset="-79"/>
              </a:rPr>
              <a:t>Infrastruktur</a:t>
            </a:r>
            <a:r>
              <a:rPr lang="en-US" sz="2400" b="1" dirty="0">
                <a:solidFill>
                  <a:srgbClr val="0C345B"/>
                </a:solidFill>
                <a:latin typeface="Futura Medium" panose="020B0602020204020303" pitchFamily="34" charset="-79"/>
                <a:cs typeface="FUTURA MEDIUM" panose="020B0602020204020303" pitchFamily="34" charset="-79"/>
              </a:rPr>
              <a:t> IT (Server)</a:t>
            </a:r>
            <a:endParaRPr lang="en-US" sz="2400" dirty="0">
              <a:solidFill>
                <a:srgbClr val="0C345B"/>
              </a:solidFill>
              <a:latin typeface="Futura Medium" panose="020B0602020204020303" pitchFamily="34" charset="-79"/>
              <a:cs typeface="Futura Medium" panose="020B0602020204020303" pitchFamily="34" charset="-79"/>
            </a:endParaRPr>
          </a:p>
        </p:txBody>
      </p:sp>
      <p:pic>
        <p:nvPicPr>
          <p:cNvPr id="2" name="Picture 1" descr="A black screen with white text&#10;&#10;Description automatically generated">
            <a:extLst>
              <a:ext uri="{FF2B5EF4-FFF2-40B4-BE49-F238E27FC236}">
                <a16:creationId xmlns:a16="http://schemas.microsoft.com/office/drawing/2014/main" id="{61D372F8-8CBA-993E-7155-EB2067E8A59A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726" t="87519"/>
          <a:stretch/>
        </p:blipFill>
        <p:spPr>
          <a:xfrm>
            <a:off x="11584425" y="6477417"/>
            <a:ext cx="607574" cy="378163"/>
          </a:xfrm>
          <a:prstGeom prst="rect">
            <a:avLst/>
          </a:prstGeom>
        </p:spPr>
      </p:pic>
      <p:pic>
        <p:nvPicPr>
          <p:cNvPr id="6" name="Picture 5" descr="A black screen with white text&#10;&#10;Description automatically generated">
            <a:extLst>
              <a:ext uri="{FF2B5EF4-FFF2-40B4-BE49-F238E27FC236}">
                <a16:creationId xmlns:a16="http://schemas.microsoft.com/office/drawing/2014/main" id="{D4AD09A3-7689-3A97-741F-997FA049E475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311" r="78841"/>
          <a:stretch/>
        </p:blipFill>
        <p:spPr>
          <a:xfrm>
            <a:off x="0" y="6478090"/>
            <a:ext cx="1425463" cy="388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441451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D3AD14-DA81-8163-817B-2F4BE20361F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roup 34">
            <a:extLst>
              <a:ext uri="{FF2B5EF4-FFF2-40B4-BE49-F238E27FC236}">
                <a16:creationId xmlns:a16="http://schemas.microsoft.com/office/drawing/2014/main" id="{3C0ABA6B-A618-E2F4-99ED-2866DF7CEDE5}"/>
              </a:ext>
            </a:extLst>
          </p:cNvPr>
          <p:cNvGrpSpPr/>
          <p:nvPr/>
        </p:nvGrpSpPr>
        <p:grpSpPr>
          <a:xfrm>
            <a:off x="0" y="-54825"/>
            <a:ext cx="12197884" cy="6864002"/>
            <a:chOff x="-556169" y="2505860"/>
            <a:chExt cx="12197884" cy="6864002"/>
          </a:xfrm>
        </p:grpSpPr>
        <p:pic>
          <p:nvPicPr>
            <p:cNvPr id="37" name="Picture 36">
              <a:extLst>
                <a:ext uri="{FF2B5EF4-FFF2-40B4-BE49-F238E27FC236}">
                  <a16:creationId xmlns:a16="http://schemas.microsoft.com/office/drawing/2014/main" id="{7EAF5E39-28B9-25DE-91D7-90B567B6CA0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550285" y="2505860"/>
              <a:ext cx="12192000" cy="6858000"/>
            </a:xfrm>
            <a:prstGeom prst="rect">
              <a:avLst/>
            </a:prstGeom>
          </p:spPr>
        </p:pic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3E367D15-7096-D4AF-670E-E87AF0E40A21}"/>
                </a:ext>
              </a:extLst>
            </p:cNvPr>
            <p:cNvSpPr/>
            <p:nvPr/>
          </p:nvSpPr>
          <p:spPr>
            <a:xfrm>
              <a:off x="-556169" y="2511862"/>
              <a:ext cx="12197884" cy="6858000"/>
            </a:xfrm>
            <a:prstGeom prst="rect">
              <a:avLst/>
            </a:prstGeom>
            <a:gradFill>
              <a:gsLst>
                <a:gs pos="0">
                  <a:schemeClr val="accent1">
                    <a:lumMod val="5000"/>
                    <a:lumOff val="95000"/>
                    <a:alpha val="0"/>
                  </a:schemeClr>
                </a:gs>
                <a:gs pos="97000">
                  <a:srgbClr val="A6E1BD">
                    <a:alpha val="42115"/>
                  </a:srgbClr>
                </a:gs>
              </a:gsLst>
              <a:lin ang="4200000" scaled="0"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cs typeface="Futura Medium" panose="020B0602020204020303"/>
              </a:endParaRPr>
            </a:p>
          </p:txBody>
        </p: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0B796EB9-939A-EDE8-C090-32E462374CBC}"/>
              </a:ext>
            </a:extLst>
          </p:cNvPr>
          <p:cNvGrpSpPr/>
          <p:nvPr/>
        </p:nvGrpSpPr>
        <p:grpSpPr>
          <a:xfrm>
            <a:off x="0" y="-6002"/>
            <a:ext cx="1439008" cy="463236"/>
            <a:chOff x="93023" y="-6002"/>
            <a:chExt cx="1439008" cy="463236"/>
          </a:xfrm>
        </p:grpSpPr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E97321FA-A736-8DC3-F6D7-08C046E698D8}"/>
                </a:ext>
              </a:extLst>
            </p:cNvPr>
            <p:cNvGrpSpPr/>
            <p:nvPr/>
          </p:nvGrpSpPr>
          <p:grpSpPr>
            <a:xfrm>
              <a:off x="93023" y="-6002"/>
              <a:ext cx="1439008" cy="463236"/>
              <a:chOff x="6171866" y="126174"/>
              <a:chExt cx="1126238" cy="369332"/>
            </a:xfrm>
          </p:grpSpPr>
          <p:pic>
            <p:nvPicPr>
              <p:cNvPr id="54" name="Picture 53">
                <a:extLst>
                  <a:ext uri="{FF2B5EF4-FFF2-40B4-BE49-F238E27FC236}">
                    <a16:creationId xmlns:a16="http://schemas.microsoft.com/office/drawing/2014/main" id="{1EE6529F-4A7B-7931-C63A-03BDDF9162C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74148" b="84200"/>
              <a:stretch/>
            </p:blipFill>
            <p:spPr>
              <a:xfrm flipH="1">
                <a:off x="6171866" y="126174"/>
                <a:ext cx="1126238" cy="369332"/>
              </a:xfrm>
              <a:prstGeom prst="rect">
                <a:avLst/>
              </a:prstGeom>
              <a:effectLst>
                <a:outerShdw blurRad="50800" dist="38100" dir="8100000" algn="tr" rotWithShape="0">
                  <a:prstClr val="black">
                    <a:alpha val="40000"/>
                  </a:prstClr>
                </a:outerShdw>
              </a:effectLst>
            </p:spPr>
          </p:pic>
          <p:sp>
            <p:nvSpPr>
              <p:cNvPr id="55" name="Rectangle 54">
                <a:extLst>
                  <a:ext uri="{FF2B5EF4-FFF2-40B4-BE49-F238E27FC236}">
                    <a16:creationId xmlns:a16="http://schemas.microsoft.com/office/drawing/2014/main" id="{FA73B1AB-1911-6AE0-2D38-349E2E0EFF42}"/>
                  </a:ext>
                </a:extLst>
              </p:cNvPr>
              <p:cNvSpPr/>
              <p:nvPr/>
            </p:nvSpPr>
            <p:spPr>
              <a:xfrm>
                <a:off x="6271117" y="143647"/>
                <a:ext cx="771525" cy="23857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/>
              </a:p>
            </p:txBody>
          </p:sp>
        </p:grpSp>
        <p:pic>
          <p:nvPicPr>
            <p:cNvPr id="53" name="Picture 52" descr="A black background with a black square&#10;&#10;AI-generated content may be incorrect.">
              <a:extLst>
                <a:ext uri="{FF2B5EF4-FFF2-40B4-BE49-F238E27FC236}">
                  <a16:creationId xmlns:a16="http://schemas.microsoft.com/office/drawing/2014/main" id="{534DB3F3-56ED-98AB-A1D5-9556BBBE31D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9837" y="48823"/>
              <a:ext cx="934769" cy="233412"/>
            </a:xfrm>
            <a:prstGeom prst="rect">
              <a:avLst/>
            </a:prstGeom>
          </p:spPr>
        </p:pic>
      </p:grpSp>
      <p:pic>
        <p:nvPicPr>
          <p:cNvPr id="24" name="Picture 23">
            <a:extLst>
              <a:ext uri="{FF2B5EF4-FFF2-40B4-BE49-F238E27FC236}">
                <a16:creationId xmlns:a16="http://schemas.microsoft.com/office/drawing/2014/main" id="{8B33B695-807E-A302-4F3F-05448F946BF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698544" y="2664618"/>
            <a:ext cx="2885881" cy="408735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3" name="Picture 2" descr="A black screen with white text&#10;&#10;Description automatically generated">
            <a:extLst>
              <a:ext uri="{FF2B5EF4-FFF2-40B4-BE49-F238E27FC236}">
                <a16:creationId xmlns:a16="http://schemas.microsoft.com/office/drawing/2014/main" id="{371DB094-846B-4DFE-767C-DCA8888B9C3E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726" t="87519"/>
          <a:stretch/>
        </p:blipFill>
        <p:spPr>
          <a:xfrm>
            <a:off x="11584425" y="6477417"/>
            <a:ext cx="607574" cy="378163"/>
          </a:xfrm>
          <a:prstGeom prst="rect">
            <a:avLst/>
          </a:prstGeom>
        </p:spPr>
      </p:pic>
      <p:pic>
        <p:nvPicPr>
          <p:cNvPr id="4" name="Picture 3" descr="A black screen with white text&#10;&#10;Description automatically generated">
            <a:extLst>
              <a:ext uri="{FF2B5EF4-FFF2-40B4-BE49-F238E27FC236}">
                <a16:creationId xmlns:a16="http://schemas.microsoft.com/office/drawing/2014/main" id="{921C92BB-4BC6-489B-56F5-19B677E9EAAB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311" r="78841"/>
          <a:stretch/>
        </p:blipFill>
        <p:spPr>
          <a:xfrm>
            <a:off x="0" y="6478090"/>
            <a:ext cx="1425463" cy="388376"/>
          </a:xfrm>
          <a:prstGeom prst="rect">
            <a:avLst/>
          </a:prstGeom>
        </p:spPr>
      </p:pic>
      <p:grpSp>
        <p:nvGrpSpPr>
          <p:cNvPr id="47" name="Group 46">
            <a:extLst>
              <a:ext uri="{FF2B5EF4-FFF2-40B4-BE49-F238E27FC236}">
                <a16:creationId xmlns:a16="http://schemas.microsoft.com/office/drawing/2014/main" id="{5A5912CC-9E72-193A-6DD4-E2A10A2F5085}"/>
              </a:ext>
            </a:extLst>
          </p:cNvPr>
          <p:cNvGrpSpPr/>
          <p:nvPr/>
        </p:nvGrpSpPr>
        <p:grpSpPr>
          <a:xfrm>
            <a:off x="5483371" y="457234"/>
            <a:ext cx="3448711" cy="1993493"/>
            <a:chOff x="804271" y="1487013"/>
            <a:chExt cx="3448711" cy="1993493"/>
          </a:xfrm>
        </p:grpSpPr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6C971F0C-668D-3873-52DD-8E75A3EBB062}"/>
                </a:ext>
              </a:extLst>
            </p:cNvPr>
            <p:cNvGrpSpPr/>
            <p:nvPr/>
          </p:nvGrpSpPr>
          <p:grpSpPr>
            <a:xfrm>
              <a:off x="804271" y="1487013"/>
              <a:ext cx="3448711" cy="1587636"/>
              <a:chOff x="811044" y="1139338"/>
              <a:chExt cx="3448711" cy="1587636"/>
            </a:xfrm>
          </p:grpSpPr>
          <p:grpSp>
            <p:nvGrpSpPr>
              <p:cNvPr id="28" name="Group 27">
                <a:extLst>
                  <a:ext uri="{FF2B5EF4-FFF2-40B4-BE49-F238E27FC236}">
                    <a16:creationId xmlns:a16="http://schemas.microsoft.com/office/drawing/2014/main" id="{FE70A3A0-0C40-0AC1-5099-E5C852FE50B9}"/>
                  </a:ext>
                </a:extLst>
              </p:cNvPr>
              <p:cNvGrpSpPr/>
              <p:nvPr/>
            </p:nvGrpSpPr>
            <p:grpSpPr>
              <a:xfrm>
                <a:off x="811044" y="1139338"/>
                <a:ext cx="3448711" cy="1178944"/>
                <a:chOff x="811044" y="1338283"/>
                <a:chExt cx="3448711" cy="1178944"/>
              </a:xfrm>
            </p:grpSpPr>
            <p:grpSp>
              <p:nvGrpSpPr>
                <p:cNvPr id="29" name="Group 28">
                  <a:extLst>
                    <a:ext uri="{FF2B5EF4-FFF2-40B4-BE49-F238E27FC236}">
                      <a16:creationId xmlns:a16="http://schemas.microsoft.com/office/drawing/2014/main" id="{096D2D3F-8A7C-FDD9-259A-87100A3FE728}"/>
                    </a:ext>
                  </a:extLst>
                </p:cNvPr>
                <p:cNvGrpSpPr/>
                <p:nvPr/>
              </p:nvGrpSpPr>
              <p:grpSpPr>
                <a:xfrm>
                  <a:off x="811044" y="1338283"/>
                  <a:ext cx="3147603" cy="646331"/>
                  <a:chOff x="811044" y="1338283"/>
                  <a:chExt cx="3147603" cy="646331"/>
                </a:xfrm>
              </p:grpSpPr>
              <p:sp>
                <p:nvSpPr>
                  <p:cNvPr id="39" name="TextBox 38">
                    <a:extLst>
                      <a:ext uri="{FF2B5EF4-FFF2-40B4-BE49-F238E27FC236}">
                        <a16:creationId xmlns:a16="http://schemas.microsoft.com/office/drawing/2014/main" id="{C90B178C-BF0D-6670-7C20-0BB13123C084}"/>
                      </a:ext>
                    </a:extLst>
                  </p:cNvPr>
                  <p:cNvSpPr txBox="1"/>
                  <p:nvPr/>
                </p:nvSpPr>
                <p:spPr>
                  <a:xfrm>
                    <a:off x="1109534" y="1338283"/>
                    <a:ext cx="2849113" cy="646331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r>
                      <a:rPr lang="en-US" dirty="0"/>
                      <a:t>Sharing </a:t>
                    </a:r>
                    <a:r>
                      <a:rPr lang="en-US" dirty="0" err="1"/>
                      <a:t>Knowladge</a:t>
                    </a:r>
                    <a:r>
                      <a:rPr lang="en-US" dirty="0"/>
                      <a:t> (KOMET)</a:t>
                    </a:r>
                  </a:p>
                  <a:p>
                    <a:endParaRPr lang="en-US" dirty="0"/>
                  </a:p>
                </p:txBody>
              </p:sp>
              <p:sp>
                <p:nvSpPr>
                  <p:cNvPr id="40" name="Rectangle 39">
                    <a:extLst>
                      <a:ext uri="{FF2B5EF4-FFF2-40B4-BE49-F238E27FC236}">
                        <a16:creationId xmlns:a16="http://schemas.microsoft.com/office/drawing/2014/main" id="{07E30A56-F553-41F5-DEE4-85A5361F17C0}"/>
                      </a:ext>
                    </a:extLst>
                  </p:cNvPr>
                  <p:cNvSpPr/>
                  <p:nvPr/>
                </p:nvSpPr>
                <p:spPr>
                  <a:xfrm>
                    <a:off x="811044" y="1393100"/>
                    <a:ext cx="259698" cy="259698"/>
                  </a:xfrm>
                  <a:prstGeom prst="rect">
                    <a:avLst/>
                  </a:prstGeom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en-US"/>
                      <a:t>v</a:t>
                    </a:r>
                    <a:endParaRPr lang="en-ID"/>
                  </a:p>
                </p:txBody>
              </p:sp>
            </p:grpSp>
            <p:grpSp>
              <p:nvGrpSpPr>
                <p:cNvPr id="30" name="Group 29">
                  <a:extLst>
                    <a:ext uri="{FF2B5EF4-FFF2-40B4-BE49-F238E27FC236}">
                      <a16:creationId xmlns:a16="http://schemas.microsoft.com/office/drawing/2014/main" id="{5564CE5E-4863-B9C2-4CDD-57B31285011D}"/>
                    </a:ext>
                  </a:extLst>
                </p:cNvPr>
                <p:cNvGrpSpPr/>
                <p:nvPr/>
              </p:nvGrpSpPr>
              <p:grpSpPr>
                <a:xfrm>
                  <a:off x="811044" y="2147895"/>
                  <a:ext cx="2692222" cy="369332"/>
                  <a:chOff x="811044" y="1338283"/>
                  <a:chExt cx="2692222" cy="369332"/>
                </a:xfrm>
              </p:grpSpPr>
              <p:sp>
                <p:nvSpPr>
                  <p:cNvPr id="34" name="TextBox 33">
                    <a:extLst>
                      <a:ext uri="{FF2B5EF4-FFF2-40B4-BE49-F238E27FC236}">
                        <a16:creationId xmlns:a16="http://schemas.microsoft.com/office/drawing/2014/main" id="{88A7675C-D738-57DA-5F98-DD999E6C1C0C}"/>
                      </a:ext>
                    </a:extLst>
                  </p:cNvPr>
                  <p:cNvSpPr txBox="1"/>
                  <p:nvPr/>
                </p:nvSpPr>
                <p:spPr>
                  <a:xfrm>
                    <a:off x="1109534" y="1338283"/>
                    <a:ext cx="2393732" cy="369332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r>
                      <a:rPr lang="en-US" dirty="0"/>
                      <a:t>Tata </a:t>
                    </a:r>
                    <a:r>
                      <a:rPr lang="en-US" dirty="0" err="1"/>
                      <a:t>Kerja</a:t>
                    </a:r>
                    <a:r>
                      <a:rPr lang="en-US" dirty="0"/>
                      <a:t> </a:t>
                    </a:r>
                    <a:r>
                      <a:rPr lang="en-US" dirty="0" err="1"/>
                      <a:t>Individu</a:t>
                    </a:r>
                    <a:r>
                      <a:rPr lang="en-US" dirty="0"/>
                      <a:t> (TKI)</a:t>
                    </a:r>
                  </a:p>
                </p:txBody>
              </p:sp>
              <p:sp>
                <p:nvSpPr>
                  <p:cNvPr id="38" name="Rectangle 37">
                    <a:extLst>
                      <a:ext uri="{FF2B5EF4-FFF2-40B4-BE49-F238E27FC236}">
                        <a16:creationId xmlns:a16="http://schemas.microsoft.com/office/drawing/2014/main" id="{3C4A83F0-255B-50E6-D2EE-BB57F92113D6}"/>
                      </a:ext>
                    </a:extLst>
                  </p:cNvPr>
                  <p:cNvSpPr/>
                  <p:nvPr/>
                </p:nvSpPr>
                <p:spPr>
                  <a:xfrm>
                    <a:off x="811044" y="1393100"/>
                    <a:ext cx="259698" cy="259698"/>
                  </a:xfrm>
                  <a:prstGeom prst="rect">
                    <a:avLst/>
                  </a:prstGeom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en-US" dirty="0"/>
                      <a:t>v</a:t>
                    </a:r>
                    <a:endParaRPr lang="en-ID" dirty="0"/>
                  </a:p>
                </p:txBody>
              </p:sp>
            </p:grpSp>
            <p:grpSp>
              <p:nvGrpSpPr>
                <p:cNvPr id="31" name="Group 30">
                  <a:extLst>
                    <a:ext uri="{FF2B5EF4-FFF2-40B4-BE49-F238E27FC236}">
                      <a16:creationId xmlns:a16="http://schemas.microsoft.com/office/drawing/2014/main" id="{CC7CFFA3-5096-D543-6301-A5C8D019653F}"/>
                    </a:ext>
                  </a:extLst>
                </p:cNvPr>
                <p:cNvGrpSpPr/>
                <p:nvPr/>
              </p:nvGrpSpPr>
              <p:grpSpPr>
                <a:xfrm>
                  <a:off x="811044" y="1747237"/>
                  <a:ext cx="3448711" cy="646331"/>
                  <a:chOff x="811044" y="1338283"/>
                  <a:chExt cx="3448711" cy="646331"/>
                </a:xfrm>
              </p:grpSpPr>
              <p:sp>
                <p:nvSpPr>
                  <p:cNvPr id="32" name="TextBox 31">
                    <a:extLst>
                      <a:ext uri="{FF2B5EF4-FFF2-40B4-BE49-F238E27FC236}">
                        <a16:creationId xmlns:a16="http://schemas.microsoft.com/office/drawing/2014/main" id="{2CDD5A04-C9CB-F72C-0F02-3828CF87E2AA}"/>
                      </a:ext>
                    </a:extLst>
                  </p:cNvPr>
                  <p:cNvSpPr txBox="1"/>
                  <p:nvPr/>
                </p:nvSpPr>
                <p:spPr>
                  <a:xfrm>
                    <a:off x="1109534" y="1338283"/>
                    <a:ext cx="3150221" cy="646331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r>
                      <a:rPr lang="en-US" dirty="0"/>
                      <a:t>User Manual Book / User Guide</a:t>
                    </a:r>
                  </a:p>
                  <a:p>
                    <a:endParaRPr lang="en-US" dirty="0"/>
                  </a:p>
                </p:txBody>
              </p:sp>
              <p:sp>
                <p:nvSpPr>
                  <p:cNvPr id="33" name="Rectangle 32">
                    <a:extLst>
                      <a:ext uri="{FF2B5EF4-FFF2-40B4-BE49-F238E27FC236}">
                        <a16:creationId xmlns:a16="http://schemas.microsoft.com/office/drawing/2014/main" id="{8B69E653-50FD-038D-4D0B-882949640382}"/>
                      </a:ext>
                    </a:extLst>
                  </p:cNvPr>
                  <p:cNvSpPr/>
                  <p:nvPr/>
                </p:nvSpPr>
                <p:spPr>
                  <a:xfrm>
                    <a:off x="811044" y="1393100"/>
                    <a:ext cx="259698" cy="259698"/>
                  </a:xfrm>
                  <a:prstGeom prst="rect">
                    <a:avLst/>
                  </a:prstGeom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en-US"/>
                      <a:t>v</a:t>
                    </a:r>
                    <a:endParaRPr lang="en-ID"/>
                  </a:p>
                </p:txBody>
              </p:sp>
            </p:grpSp>
          </p:grpSp>
          <p:sp>
            <p:nvSpPr>
              <p:cNvPr id="41" name="TextBox 40">
                <a:extLst>
                  <a:ext uri="{FF2B5EF4-FFF2-40B4-BE49-F238E27FC236}">
                    <a16:creationId xmlns:a16="http://schemas.microsoft.com/office/drawing/2014/main" id="{78B657D3-23EC-3263-CFF3-420989D3B167}"/>
                  </a:ext>
                </a:extLst>
              </p:cNvPr>
              <p:cNvSpPr txBox="1"/>
              <p:nvPr/>
            </p:nvSpPr>
            <p:spPr>
              <a:xfrm>
                <a:off x="1109534" y="2357642"/>
                <a:ext cx="1461619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dirty="0" err="1"/>
                  <a:t>Potensi</a:t>
                </a:r>
                <a:r>
                  <a:rPr lang="en-US" dirty="0"/>
                  <a:t> Paten</a:t>
                </a:r>
              </a:p>
            </p:txBody>
          </p:sp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073183A6-3FD6-505A-B5C0-0217443B9384}"/>
                  </a:ext>
                </a:extLst>
              </p:cNvPr>
              <p:cNvSpPr/>
              <p:nvPr/>
            </p:nvSpPr>
            <p:spPr>
              <a:xfrm>
                <a:off x="811044" y="2412459"/>
                <a:ext cx="259698" cy="259698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/>
                  <a:t>v</a:t>
                </a:r>
                <a:endParaRPr lang="en-ID" dirty="0"/>
              </a:p>
            </p:txBody>
          </p:sp>
        </p:grp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7CE510FA-2A88-3ECA-9946-2A65BB7D671A}"/>
                </a:ext>
              </a:extLst>
            </p:cNvPr>
            <p:cNvSpPr txBox="1"/>
            <p:nvPr/>
          </p:nvSpPr>
          <p:spPr>
            <a:xfrm>
              <a:off x="1102761" y="3111174"/>
              <a:ext cx="174528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err="1"/>
                <a:t>Potensi</a:t>
              </a:r>
              <a:r>
                <a:rPr lang="en-US" dirty="0"/>
                <a:t> </a:t>
              </a:r>
              <a:r>
                <a:rPr lang="en-US" dirty="0" err="1"/>
                <a:t>Replikasi</a:t>
              </a:r>
              <a:endParaRPr lang="en-US" dirty="0"/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98366388-7951-B405-C17B-445B50C3233E}"/>
                </a:ext>
              </a:extLst>
            </p:cNvPr>
            <p:cNvSpPr/>
            <p:nvPr/>
          </p:nvSpPr>
          <p:spPr>
            <a:xfrm>
              <a:off x="804271" y="3165991"/>
              <a:ext cx="259698" cy="25969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v</a:t>
              </a:r>
              <a:endParaRPr lang="en-ID" dirty="0"/>
            </a:p>
          </p:txBody>
        </p:sp>
      </p:grpSp>
      <p:pic>
        <p:nvPicPr>
          <p:cNvPr id="46" name="Picture 45" descr="A screen shot of a computer">
            <a:extLst>
              <a:ext uri="{FF2B5EF4-FFF2-40B4-BE49-F238E27FC236}">
                <a16:creationId xmlns:a16="http://schemas.microsoft.com/office/drawing/2014/main" id="{B0BA2D69-DCC8-29B0-4CB2-0EDFB1CEE38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3511" y="710779"/>
            <a:ext cx="4394362" cy="2476188"/>
          </a:xfrm>
          <a:prstGeom prst="rect">
            <a:avLst/>
          </a:prstGeom>
        </p:spPr>
      </p:pic>
      <p:pic>
        <p:nvPicPr>
          <p:cNvPr id="48" name="Picture 47">
            <a:extLst>
              <a:ext uri="{FF2B5EF4-FFF2-40B4-BE49-F238E27FC236}">
                <a16:creationId xmlns:a16="http://schemas.microsoft.com/office/drawing/2014/main" id="{F7242302-5409-3393-6264-D0E5F670FA5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483371" y="2721984"/>
            <a:ext cx="2829686" cy="4029984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49" name="Picture 48">
            <a:extLst>
              <a:ext uri="{FF2B5EF4-FFF2-40B4-BE49-F238E27FC236}">
                <a16:creationId xmlns:a16="http://schemas.microsoft.com/office/drawing/2014/main" id="{091D7609-5355-27F3-C073-9D2E974CF41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17606" y="3429000"/>
            <a:ext cx="4394362" cy="2468066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34091847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FEBB134-F157-477D-08DD-5315B11A51D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roup 34">
            <a:extLst>
              <a:ext uri="{FF2B5EF4-FFF2-40B4-BE49-F238E27FC236}">
                <a16:creationId xmlns:a16="http://schemas.microsoft.com/office/drawing/2014/main" id="{231AD71A-3BE2-3C87-4DD5-1C6884ED02BD}"/>
              </a:ext>
            </a:extLst>
          </p:cNvPr>
          <p:cNvGrpSpPr/>
          <p:nvPr/>
        </p:nvGrpSpPr>
        <p:grpSpPr>
          <a:xfrm>
            <a:off x="-29941" y="23129"/>
            <a:ext cx="12251882" cy="6858000"/>
            <a:chOff x="105698" y="672372"/>
            <a:chExt cx="12251882" cy="6858000"/>
          </a:xfrm>
        </p:grpSpPr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9D894D0B-9763-42EB-555F-6013150E98FE}"/>
                </a:ext>
              </a:extLst>
            </p:cNvPr>
            <p:cNvSpPr/>
            <p:nvPr/>
          </p:nvSpPr>
          <p:spPr>
            <a:xfrm>
              <a:off x="159696" y="672372"/>
              <a:ext cx="12197884" cy="6858000"/>
            </a:xfrm>
            <a:prstGeom prst="rect">
              <a:avLst/>
            </a:prstGeom>
            <a:gradFill>
              <a:gsLst>
                <a:gs pos="0">
                  <a:schemeClr val="accent1">
                    <a:lumMod val="5000"/>
                    <a:lumOff val="95000"/>
                    <a:alpha val="0"/>
                  </a:schemeClr>
                </a:gs>
                <a:gs pos="97000">
                  <a:srgbClr val="A6E1BD">
                    <a:alpha val="42115"/>
                  </a:srgbClr>
                </a:gs>
              </a:gsLst>
              <a:lin ang="4200000" scaled="0"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cs typeface="Futura Medium" panose="020B0602020204020303"/>
              </a:endParaRPr>
            </a:p>
          </p:txBody>
        </p:sp>
        <p:pic>
          <p:nvPicPr>
            <p:cNvPr id="37" name="Picture 36">
              <a:extLst>
                <a:ext uri="{FF2B5EF4-FFF2-40B4-BE49-F238E27FC236}">
                  <a16:creationId xmlns:a16="http://schemas.microsoft.com/office/drawing/2014/main" id="{19619B66-7F95-A564-C5F7-9CBD59C9EE5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5698" y="672372"/>
              <a:ext cx="12192000" cy="6858000"/>
            </a:xfrm>
            <a:prstGeom prst="rect">
              <a:avLst/>
            </a:prstGeom>
          </p:spPr>
        </p:pic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1F029277-275A-DC11-0B34-A877A60E1928}"/>
              </a:ext>
            </a:extLst>
          </p:cNvPr>
          <p:cNvGrpSpPr/>
          <p:nvPr/>
        </p:nvGrpSpPr>
        <p:grpSpPr>
          <a:xfrm>
            <a:off x="0" y="-6002"/>
            <a:ext cx="1439008" cy="463236"/>
            <a:chOff x="93023" y="-6002"/>
            <a:chExt cx="1439008" cy="463236"/>
          </a:xfrm>
        </p:grpSpPr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AE5E54F3-7982-848C-3986-37978D5220BF}"/>
                </a:ext>
              </a:extLst>
            </p:cNvPr>
            <p:cNvGrpSpPr/>
            <p:nvPr/>
          </p:nvGrpSpPr>
          <p:grpSpPr>
            <a:xfrm>
              <a:off x="93023" y="-6002"/>
              <a:ext cx="1439008" cy="463236"/>
              <a:chOff x="6171866" y="126174"/>
              <a:chExt cx="1126238" cy="369332"/>
            </a:xfrm>
          </p:grpSpPr>
          <p:pic>
            <p:nvPicPr>
              <p:cNvPr id="54" name="Picture 53">
                <a:extLst>
                  <a:ext uri="{FF2B5EF4-FFF2-40B4-BE49-F238E27FC236}">
                    <a16:creationId xmlns:a16="http://schemas.microsoft.com/office/drawing/2014/main" id="{29466E4D-0497-231B-C95E-E5FE299E6BE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74148" b="84200"/>
              <a:stretch/>
            </p:blipFill>
            <p:spPr>
              <a:xfrm flipH="1">
                <a:off x="6171866" y="126174"/>
                <a:ext cx="1126238" cy="369332"/>
              </a:xfrm>
              <a:prstGeom prst="rect">
                <a:avLst/>
              </a:prstGeom>
              <a:effectLst>
                <a:outerShdw blurRad="50800" dist="38100" dir="8100000" algn="tr" rotWithShape="0">
                  <a:prstClr val="black">
                    <a:alpha val="40000"/>
                  </a:prstClr>
                </a:outerShdw>
              </a:effectLst>
            </p:spPr>
          </p:pic>
          <p:sp>
            <p:nvSpPr>
              <p:cNvPr id="55" name="Rectangle 54">
                <a:extLst>
                  <a:ext uri="{FF2B5EF4-FFF2-40B4-BE49-F238E27FC236}">
                    <a16:creationId xmlns:a16="http://schemas.microsoft.com/office/drawing/2014/main" id="{C97CC90A-99AA-F8BC-4821-6A776DB998FF}"/>
                  </a:ext>
                </a:extLst>
              </p:cNvPr>
              <p:cNvSpPr/>
              <p:nvPr/>
            </p:nvSpPr>
            <p:spPr>
              <a:xfrm>
                <a:off x="6271117" y="143647"/>
                <a:ext cx="771525" cy="23857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/>
              </a:p>
            </p:txBody>
          </p:sp>
        </p:grpSp>
        <p:pic>
          <p:nvPicPr>
            <p:cNvPr id="53" name="Picture 52" descr="A black background with a black square&#10;&#10;AI-generated content may be incorrect.">
              <a:extLst>
                <a:ext uri="{FF2B5EF4-FFF2-40B4-BE49-F238E27FC236}">
                  <a16:creationId xmlns:a16="http://schemas.microsoft.com/office/drawing/2014/main" id="{00B84E78-9CF8-49EB-CD71-D5D09084D91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9837" y="48823"/>
              <a:ext cx="934769" cy="233412"/>
            </a:xfrm>
            <a:prstGeom prst="rect">
              <a:avLst/>
            </a:prstGeom>
          </p:spPr>
        </p:pic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2BAF0B2A-31AE-02BB-7BEE-FC1FD08C7AFD}"/>
              </a:ext>
            </a:extLst>
          </p:cNvPr>
          <p:cNvSpPr txBox="1"/>
          <p:nvPr/>
        </p:nvSpPr>
        <p:spPr>
          <a:xfrm>
            <a:off x="589280" y="457234"/>
            <a:ext cx="10995145" cy="494751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sz="2400" b="1" dirty="0">
                <a:solidFill>
                  <a:srgbClr val="0C345B"/>
                </a:solidFill>
                <a:latin typeface="Futura Medium" panose="020B0602020204020303" pitchFamily="34" charset="-79"/>
                <a:cs typeface="FUTURA MEDIUM" panose="020B0602020204020303" pitchFamily="34" charset="-79"/>
              </a:rPr>
              <a:t>VERIFIKASI KEUANGAN</a:t>
            </a:r>
            <a:endParaRPr lang="en-US" sz="2400" dirty="0">
              <a:solidFill>
                <a:srgbClr val="0C345B"/>
              </a:solidFill>
              <a:latin typeface="Futura Medium" panose="020B0602020204020303" pitchFamily="34" charset="-79"/>
              <a:cs typeface="Futura Medium" panose="020B0602020204020303" pitchFamily="34" charset="-79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B6DC94AF-DBA1-A49E-C60C-A61A9E83FB5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90219" y="1094075"/>
            <a:ext cx="4551680" cy="5305882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3" name="Picture 2" descr="A black screen with white text&#10;&#10;Description automatically generated">
            <a:extLst>
              <a:ext uri="{FF2B5EF4-FFF2-40B4-BE49-F238E27FC236}">
                <a16:creationId xmlns:a16="http://schemas.microsoft.com/office/drawing/2014/main" id="{D476D02F-28E4-870A-7172-D7A0C57833EE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726" t="87519"/>
          <a:stretch/>
        </p:blipFill>
        <p:spPr>
          <a:xfrm>
            <a:off x="11584425" y="6477417"/>
            <a:ext cx="607574" cy="378163"/>
          </a:xfrm>
          <a:prstGeom prst="rect">
            <a:avLst/>
          </a:prstGeom>
        </p:spPr>
      </p:pic>
      <p:pic>
        <p:nvPicPr>
          <p:cNvPr id="4" name="Picture 3" descr="A black screen with white text&#10;&#10;Description automatically generated">
            <a:extLst>
              <a:ext uri="{FF2B5EF4-FFF2-40B4-BE49-F238E27FC236}">
                <a16:creationId xmlns:a16="http://schemas.microsoft.com/office/drawing/2014/main" id="{D8E1AF27-8A3E-95BB-A052-C831054EA8A1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311" r="78841"/>
          <a:stretch/>
        </p:blipFill>
        <p:spPr>
          <a:xfrm>
            <a:off x="0" y="6478090"/>
            <a:ext cx="1425463" cy="388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051755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84E6E43-2288-D611-6A28-7D67715884B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roup 34">
            <a:extLst>
              <a:ext uri="{FF2B5EF4-FFF2-40B4-BE49-F238E27FC236}">
                <a16:creationId xmlns:a16="http://schemas.microsoft.com/office/drawing/2014/main" id="{7D50527C-A0CB-6F06-7582-809C07747361}"/>
              </a:ext>
            </a:extLst>
          </p:cNvPr>
          <p:cNvGrpSpPr/>
          <p:nvPr/>
        </p:nvGrpSpPr>
        <p:grpSpPr>
          <a:xfrm>
            <a:off x="-29941" y="23129"/>
            <a:ext cx="12251882" cy="6858000"/>
            <a:chOff x="105698" y="672372"/>
            <a:chExt cx="12251882" cy="6858000"/>
          </a:xfrm>
        </p:grpSpPr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B408E31E-6EAF-9DCD-31E1-2E3D3874F5E9}"/>
                </a:ext>
              </a:extLst>
            </p:cNvPr>
            <p:cNvSpPr/>
            <p:nvPr/>
          </p:nvSpPr>
          <p:spPr>
            <a:xfrm>
              <a:off x="159696" y="672372"/>
              <a:ext cx="12197884" cy="6858000"/>
            </a:xfrm>
            <a:prstGeom prst="rect">
              <a:avLst/>
            </a:prstGeom>
            <a:gradFill>
              <a:gsLst>
                <a:gs pos="0">
                  <a:schemeClr val="accent1">
                    <a:lumMod val="5000"/>
                    <a:lumOff val="95000"/>
                    <a:alpha val="0"/>
                  </a:schemeClr>
                </a:gs>
                <a:gs pos="97000">
                  <a:srgbClr val="A6E1BD">
                    <a:alpha val="42115"/>
                  </a:srgbClr>
                </a:gs>
              </a:gsLst>
              <a:lin ang="4200000" scaled="0"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cs typeface="Futura Medium" panose="020B0602020204020303"/>
              </a:endParaRPr>
            </a:p>
          </p:txBody>
        </p:sp>
        <p:pic>
          <p:nvPicPr>
            <p:cNvPr id="37" name="Picture 36">
              <a:extLst>
                <a:ext uri="{FF2B5EF4-FFF2-40B4-BE49-F238E27FC236}">
                  <a16:creationId xmlns:a16="http://schemas.microsoft.com/office/drawing/2014/main" id="{1A2AB8E2-E0A7-D9ED-49BD-0962E5A3EAA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5698" y="672372"/>
              <a:ext cx="12192000" cy="6858000"/>
            </a:xfrm>
            <a:prstGeom prst="rect">
              <a:avLst/>
            </a:prstGeom>
          </p:spPr>
        </p:pic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6BACE605-6BDD-FD4B-687F-D976073828A6}"/>
              </a:ext>
            </a:extLst>
          </p:cNvPr>
          <p:cNvGrpSpPr/>
          <p:nvPr/>
        </p:nvGrpSpPr>
        <p:grpSpPr>
          <a:xfrm>
            <a:off x="0" y="-6002"/>
            <a:ext cx="1439008" cy="463236"/>
            <a:chOff x="93023" y="-6002"/>
            <a:chExt cx="1439008" cy="463236"/>
          </a:xfrm>
        </p:grpSpPr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85A89C04-911D-A1CF-A89A-2C9747B80D69}"/>
                </a:ext>
              </a:extLst>
            </p:cNvPr>
            <p:cNvGrpSpPr/>
            <p:nvPr/>
          </p:nvGrpSpPr>
          <p:grpSpPr>
            <a:xfrm>
              <a:off x="93023" y="-6002"/>
              <a:ext cx="1439008" cy="463236"/>
              <a:chOff x="6171866" y="126174"/>
              <a:chExt cx="1126238" cy="369332"/>
            </a:xfrm>
          </p:grpSpPr>
          <p:pic>
            <p:nvPicPr>
              <p:cNvPr id="54" name="Picture 53">
                <a:extLst>
                  <a:ext uri="{FF2B5EF4-FFF2-40B4-BE49-F238E27FC236}">
                    <a16:creationId xmlns:a16="http://schemas.microsoft.com/office/drawing/2014/main" id="{603B84C7-307C-1034-264C-262394CF7049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74148" b="84200"/>
              <a:stretch/>
            </p:blipFill>
            <p:spPr>
              <a:xfrm flipH="1">
                <a:off x="6171866" y="126174"/>
                <a:ext cx="1126238" cy="369332"/>
              </a:xfrm>
              <a:prstGeom prst="rect">
                <a:avLst/>
              </a:prstGeom>
              <a:effectLst>
                <a:outerShdw blurRad="50800" dist="38100" dir="8100000" algn="tr" rotWithShape="0">
                  <a:prstClr val="black">
                    <a:alpha val="40000"/>
                  </a:prstClr>
                </a:outerShdw>
              </a:effectLst>
            </p:spPr>
          </p:pic>
          <p:sp>
            <p:nvSpPr>
              <p:cNvPr id="55" name="Rectangle 54">
                <a:extLst>
                  <a:ext uri="{FF2B5EF4-FFF2-40B4-BE49-F238E27FC236}">
                    <a16:creationId xmlns:a16="http://schemas.microsoft.com/office/drawing/2014/main" id="{D05F78D2-0BB7-8993-0805-CFD563969FE7}"/>
                  </a:ext>
                </a:extLst>
              </p:cNvPr>
              <p:cNvSpPr/>
              <p:nvPr/>
            </p:nvSpPr>
            <p:spPr>
              <a:xfrm>
                <a:off x="6271117" y="143647"/>
                <a:ext cx="771525" cy="23857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/>
              </a:p>
            </p:txBody>
          </p:sp>
        </p:grpSp>
        <p:pic>
          <p:nvPicPr>
            <p:cNvPr id="53" name="Picture 52" descr="A black background with a black square&#10;&#10;AI-generated content may be incorrect.">
              <a:extLst>
                <a:ext uri="{FF2B5EF4-FFF2-40B4-BE49-F238E27FC236}">
                  <a16:creationId xmlns:a16="http://schemas.microsoft.com/office/drawing/2014/main" id="{021E1860-3DE2-A0C5-6D0D-416E99B7ACF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9837" y="48823"/>
              <a:ext cx="934769" cy="233412"/>
            </a:xfrm>
            <a:prstGeom prst="rect">
              <a:avLst/>
            </a:prstGeom>
          </p:spPr>
        </p:pic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60AA5FB4-9ACF-966C-A5F1-9755CB13B37D}"/>
              </a:ext>
            </a:extLst>
          </p:cNvPr>
          <p:cNvSpPr txBox="1"/>
          <p:nvPr/>
        </p:nvSpPr>
        <p:spPr>
          <a:xfrm>
            <a:off x="589280" y="457234"/>
            <a:ext cx="10995145" cy="494751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sz="2400" b="1" dirty="0">
                <a:solidFill>
                  <a:srgbClr val="0C345B"/>
                </a:solidFill>
                <a:latin typeface="Futura Medium" panose="020B0602020204020303" pitchFamily="34" charset="-79"/>
                <a:cs typeface="FUTURA MEDIUM" panose="020B0602020204020303" pitchFamily="34" charset="-79"/>
              </a:rPr>
              <a:t>LEMBAR KERJA PERHITUNGAN VALUE CREATION</a:t>
            </a:r>
            <a:endParaRPr lang="en-US" sz="2400" dirty="0">
              <a:solidFill>
                <a:srgbClr val="0C345B"/>
              </a:solidFill>
              <a:latin typeface="Futura Medium" panose="020B0602020204020303" pitchFamily="34" charset="-79"/>
              <a:cs typeface="Futura Medium" panose="020B0602020204020303" pitchFamily="34" charset="-79"/>
            </a:endParaRPr>
          </a:p>
        </p:txBody>
      </p:sp>
      <p:pic>
        <p:nvPicPr>
          <p:cNvPr id="3" name="Picture 2" descr="A black screen with white text&#10;&#10;Description automatically generated">
            <a:extLst>
              <a:ext uri="{FF2B5EF4-FFF2-40B4-BE49-F238E27FC236}">
                <a16:creationId xmlns:a16="http://schemas.microsoft.com/office/drawing/2014/main" id="{1EA76E21-A22E-5FBC-F4D5-1261FB461E75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726" t="87519"/>
          <a:stretch/>
        </p:blipFill>
        <p:spPr>
          <a:xfrm>
            <a:off x="11584425" y="6477417"/>
            <a:ext cx="607574" cy="378163"/>
          </a:xfrm>
          <a:prstGeom prst="rect">
            <a:avLst/>
          </a:prstGeom>
        </p:spPr>
      </p:pic>
      <p:pic>
        <p:nvPicPr>
          <p:cNvPr id="4" name="Picture 3" descr="A black screen with white text&#10;&#10;Description automatically generated">
            <a:extLst>
              <a:ext uri="{FF2B5EF4-FFF2-40B4-BE49-F238E27FC236}">
                <a16:creationId xmlns:a16="http://schemas.microsoft.com/office/drawing/2014/main" id="{E8AD1F0A-4335-934C-3FD4-4DAD61E5DD1A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311" r="78841"/>
          <a:stretch/>
        </p:blipFill>
        <p:spPr>
          <a:xfrm>
            <a:off x="0" y="6478090"/>
            <a:ext cx="1425463" cy="38837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59FF2F1F-015F-65B3-6F17-029DF574647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60166" y="1288292"/>
            <a:ext cx="11871667" cy="39156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772376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61AD59-8DA4-757F-4D7E-63B1853A6C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roup 34">
            <a:extLst>
              <a:ext uri="{FF2B5EF4-FFF2-40B4-BE49-F238E27FC236}">
                <a16:creationId xmlns:a16="http://schemas.microsoft.com/office/drawing/2014/main" id="{7148B4D0-3047-EE78-01EC-B807F28D2D34}"/>
              </a:ext>
            </a:extLst>
          </p:cNvPr>
          <p:cNvGrpSpPr/>
          <p:nvPr/>
        </p:nvGrpSpPr>
        <p:grpSpPr>
          <a:xfrm>
            <a:off x="-29941" y="23129"/>
            <a:ext cx="12251882" cy="6858000"/>
            <a:chOff x="105698" y="672372"/>
            <a:chExt cx="12251882" cy="6858000"/>
          </a:xfrm>
        </p:grpSpPr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52BD6724-E35A-3A87-63E4-814C0EB77875}"/>
                </a:ext>
              </a:extLst>
            </p:cNvPr>
            <p:cNvSpPr/>
            <p:nvPr/>
          </p:nvSpPr>
          <p:spPr>
            <a:xfrm>
              <a:off x="159696" y="672372"/>
              <a:ext cx="12197884" cy="6858000"/>
            </a:xfrm>
            <a:prstGeom prst="rect">
              <a:avLst/>
            </a:prstGeom>
            <a:gradFill>
              <a:gsLst>
                <a:gs pos="0">
                  <a:schemeClr val="accent1">
                    <a:lumMod val="5000"/>
                    <a:lumOff val="95000"/>
                    <a:alpha val="0"/>
                  </a:schemeClr>
                </a:gs>
                <a:gs pos="97000">
                  <a:srgbClr val="A6E1BD">
                    <a:alpha val="42115"/>
                  </a:srgbClr>
                </a:gs>
              </a:gsLst>
              <a:lin ang="4200000" scaled="0"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cs typeface="Futura Medium" panose="020B0602020204020303"/>
              </a:endParaRPr>
            </a:p>
          </p:txBody>
        </p:sp>
        <p:pic>
          <p:nvPicPr>
            <p:cNvPr id="37" name="Picture 36">
              <a:extLst>
                <a:ext uri="{FF2B5EF4-FFF2-40B4-BE49-F238E27FC236}">
                  <a16:creationId xmlns:a16="http://schemas.microsoft.com/office/drawing/2014/main" id="{1BFC3D8C-5B0F-B02B-7388-D2515AEFA94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5698" y="672372"/>
              <a:ext cx="12192000" cy="6858000"/>
            </a:xfrm>
            <a:prstGeom prst="rect">
              <a:avLst/>
            </a:prstGeom>
          </p:spPr>
        </p:pic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C75B58E4-B70A-F4F5-6CD7-1FF717A30077}"/>
              </a:ext>
            </a:extLst>
          </p:cNvPr>
          <p:cNvGrpSpPr/>
          <p:nvPr/>
        </p:nvGrpSpPr>
        <p:grpSpPr>
          <a:xfrm>
            <a:off x="0" y="-6002"/>
            <a:ext cx="1439008" cy="463236"/>
            <a:chOff x="93023" y="-6002"/>
            <a:chExt cx="1439008" cy="463236"/>
          </a:xfrm>
        </p:grpSpPr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91B4C827-6A97-7E84-C307-5D07566DB434}"/>
                </a:ext>
              </a:extLst>
            </p:cNvPr>
            <p:cNvGrpSpPr/>
            <p:nvPr/>
          </p:nvGrpSpPr>
          <p:grpSpPr>
            <a:xfrm>
              <a:off x="93023" y="-6002"/>
              <a:ext cx="1439008" cy="463236"/>
              <a:chOff x="6171866" y="126174"/>
              <a:chExt cx="1126238" cy="369332"/>
            </a:xfrm>
          </p:grpSpPr>
          <p:pic>
            <p:nvPicPr>
              <p:cNvPr id="54" name="Picture 53">
                <a:extLst>
                  <a:ext uri="{FF2B5EF4-FFF2-40B4-BE49-F238E27FC236}">
                    <a16:creationId xmlns:a16="http://schemas.microsoft.com/office/drawing/2014/main" id="{F75442D9-E072-656A-78A3-FBF857690FB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74148" b="84200"/>
              <a:stretch/>
            </p:blipFill>
            <p:spPr>
              <a:xfrm flipH="1">
                <a:off x="6171866" y="126174"/>
                <a:ext cx="1126238" cy="369332"/>
              </a:xfrm>
              <a:prstGeom prst="rect">
                <a:avLst/>
              </a:prstGeom>
              <a:effectLst>
                <a:outerShdw blurRad="50800" dist="38100" dir="8100000" algn="tr" rotWithShape="0">
                  <a:prstClr val="black">
                    <a:alpha val="40000"/>
                  </a:prstClr>
                </a:outerShdw>
              </a:effectLst>
            </p:spPr>
          </p:pic>
          <p:sp>
            <p:nvSpPr>
              <p:cNvPr id="55" name="Rectangle 54">
                <a:extLst>
                  <a:ext uri="{FF2B5EF4-FFF2-40B4-BE49-F238E27FC236}">
                    <a16:creationId xmlns:a16="http://schemas.microsoft.com/office/drawing/2014/main" id="{7D0EE85D-0FBA-C310-375F-DAE488C74E37}"/>
                  </a:ext>
                </a:extLst>
              </p:cNvPr>
              <p:cNvSpPr/>
              <p:nvPr/>
            </p:nvSpPr>
            <p:spPr>
              <a:xfrm>
                <a:off x="6271117" y="143647"/>
                <a:ext cx="771525" cy="23857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/>
              </a:p>
            </p:txBody>
          </p:sp>
        </p:grpSp>
        <p:pic>
          <p:nvPicPr>
            <p:cNvPr id="53" name="Picture 52" descr="A black background with a black square&#10;&#10;AI-generated content may be incorrect.">
              <a:extLst>
                <a:ext uri="{FF2B5EF4-FFF2-40B4-BE49-F238E27FC236}">
                  <a16:creationId xmlns:a16="http://schemas.microsoft.com/office/drawing/2014/main" id="{2FDE9B91-D858-79E6-DF18-B18E3968777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9837" y="48823"/>
              <a:ext cx="934769" cy="233412"/>
            </a:xfrm>
            <a:prstGeom prst="rect">
              <a:avLst/>
            </a:prstGeom>
          </p:spPr>
        </p:pic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77E95E79-10F6-B5B9-7B76-6D326A5002FB}"/>
              </a:ext>
            </a:extLst>
          </p:cNvPr>
          <p:cNvSpPr txBox="1"/>
          <p:nvPr/>
        </p:nvSpPr>
        <p:spPr>
          <a:xfrm>
            <a:off x="223272" y="457234"/>
            <a:ext cx="9629841" cy="494751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>
              <a:lnSpc>
                <a:spcPct val="120000"/>
              </a:lnSpc>
            </a:pPr>
            <a:r>
              <a:rPr lang="en-US" sz="2400" b="1">
                <a:solidFill>
                  <a:srgbClr val="0C345B"/>
                </a:solidFill>
                <a:latin typeface="Futura Medium" panose="020B0602020204020303" pitchFamily="34" charset="-79"/>
                <a:cs typeface="FUTURA MEDIUM" panose="020B0602020204020303" pitchFamily="34" charset="-79"/>
              </a:rPr>
              <a:t>LAMPIRAN</a:t>
            </a:r>
            <a:endParaRPr lang="en-US" sz="2400" dirty="0">
              <a:solidFill>
                <a:srgbClr val="0C345B"/>
              </a:solidFill>
              <a:latin typeface="Futura Medium" panose="020B0602020204020303" pitchFamily="34" charset="-79"/>
              <a:cs typeface="Futura Medium" panose="020B0602020204020303" pitchFamily="34" charset="-79"/>
            </a:endParaRPr>
          </a:p>
        </p:txBody>
      </p:sp>
    </p:spTree>
    <p:extLst>
      <p:ext uri="{BB962C8B-B14F-4D97-AF65-F5344CB8AC3E}">
        <p14:creationId xmlns:p14="http://schemas.microsoft.com/office/powerpoint/2010/main" val="135088789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6EB4043-E8AA-CC14-37A6-966BB1919A8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07E0A2F3-1553-935D-0364-49A161D875C3}"/>
              </a:ext>
            </a:extLst>
          </p:cNvPr>
          <p:cNvGrpSpPr/>
          <p:nvPr/>
        </p:nvGrpSpPr>
        <p:grpSpPr>
          <a:xfrm>
            <a:off x="21482" y="-16141"/>
            <a:ext cx="12197884" cy="6858000"/>
            <a:chOff x="0" y="0"/>
            <a:chExt cx="12197884" cy="6858000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CFBA956A-9D24-D358-9903-F61E73B8CBCD}"/>
                </a:ext>
              </a:extLst>
            </p:cNvPr>
            <p:cNvSpPr/>
            <p:nvPr/>
          </p:nvSpPr>
          <p:spPr>
            <a:xfrm>
              <a:off x="0" y="0"/>
              <a:ext cx="12197884" cy="6858000"/>
            </a:xfrm>
            <a:prstGeom prst="rect">
              <a:avLst/>
            </a:prstGeom>
            <a:gradFill>
              <a:gsLst>
                <a:gs pos="0">
                  <a:schemeClr val="accent1">
                    <a:lumMod val="5000"/>
                    <a:lumOff val="95000"/>
                    <a:alpha val="0"/>
                  </a:schemeClr>
                </a:gs>
                <a:gs pos="97000">
                  <a:srgbClr val="A6E1BD">
                    <a:alpha val="42115"/>
                  </a:srgbClr>
                </a:gs>
              </a:gsLst>
              <a:lin ang="4200000" scaled="0"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B97D9038-4603-9A31-1940-EE97C8F0420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0"/>
              <a:ext cx="12192000" cy="6858000"/>
            </a:xfrm>
            <a:prstGeom prst="rect">
              <a:avLst/>
            </a:prstGeom>
          </p:spPr>
        </p:pic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4A255228-BC86-7B99-67CE-0F7A0454FF58}"/>
              </a:ext>
            </a:extLst>
          </p:cNvPr>
          <p:cNvSpPr txBox="1"/>
          <p:nvPr/>
        </p:nvSpPr>
        <p:spPr>
          <a:xfrm>
            <a:off x="719504" y="756359"/>
            <a:ext cx="3010537" cy="56188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>
              <a:lnSpc>
                <a:spcPct val="120000"/>
              </a:lnSpc>
            </a:pPr>
            <a:r>
              <a:rPr lang="en-US" sz="2800" b="1">
                <a:solidFill>
                  <a:srgbClr val="0C345B"/>
                </a:solidFill>
                <a:latin typeface="Futura Medium" panose="020B0602020204020303" pitchFamily="34" charset="-79"/>
                <a:cs typeface="FUTURA MEDIUM" panose="020B0602020204020303" pitchFamily="34" charset="-79"/>
              </a:rPr>
              <a:t>Latar Belakang</a:t>
            </a:r>
            <a:endParaRPr lang="en-US" sz="2800" dirty="0">
              <a:solidFill>
                <a:srgbClr val="0C345B"/>
              </a:solidFill>
              <a:latin typeface="Futura Medium" panose="020B0602020204020303" pitchFamily="34" charset="-79"/>
              <a:cs typeface="Futura Medium" panose="020B0602020204020303" pitchFamily="34" charset="-79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73E2D1C-5F5D-83C7-E17E-E4842C43A707}"/>
              </a:ext>
            </a:extLst>
          </p:cNvPr>
          <p:cNvGrpSpPr/>
          <p:nvPr/>
        </p:nvGrpSpPr>
        <p:grpSpPr>
          <a:xfrm>
            <a:off x="0" y="-6002"/>
            <a:ext cx="1439008" cy="463236"/>
            <a:chOff x="93023" y="-6002"/>
            <a:chExt cx="1439008" cy="463236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4792EF28-B77D-FCD6-0DBB-3F5BB3A72312}"/>
                </a:ext>
              </a:extLst>
            </p:cNvPr>
            <p:cNvGrpSpPr/>
            <p:nvPr/>
          </p:nvGrpSpPr>
          <p:grpSpPr>
            <a:xfrm>
              <a:off x="93023" y="-6002"/>
              <a:ext cx="1439008" cy="463236"/>
              <a:chOff x="6171866" y="126174"/>
              <a:chExt cx="1126238" cy="369332"/>
            </a:xfrm>
          </p:grpSpPr>
          <p:pic>
            <p:nvPicPr>
              <p:cNvPr id="19" name="Picture 18">
                <a:extLst>
                  <a:ext uri="{FF2B5EF4-FFF2-40B4-BE49-F238E27FC236}">
                    <a16:creationId xmlns:a16="http://schemas.microsoft.com/office/drawing/2014/main" id="{02BF0DA0-0CA4-15E8-58F2-BC041D7632B2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74148" b="84200"/>
              <a:stretch/>
            </p:blipFill>
            <p:spPr>
              <a:xfrm flipH="1">
                <a:off x="6171866" y="126174"/>
                <a:ext cx="1126238" cy="369332"/>
              </a:xfrm>
              <a:prstGeom prst="rect">
                <a:avLst/>
              </a:prstGeom>
              <a:effectLst>
                <a:outerShdw blurRad="50800" dist="38100" dir="8100000" algn="tr" rotWithShape="0">
                  <a:prstClr val="black">
                    <a:alpha val="40000"/>
                  </a:prstClr>
                </a:outerShdw>
              </a:effectLst>
            </p:spPr>
          </p:pic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570B17C7-5724-109A-E812-51735E71557A}"/>
                  </a:ext>
                </a:extLst>
              </p:cNvPr>
              <p:cNvSpPr/>
              <p:nvPr/>
            </p:nvSpPr>
            <p:spPr>
              <a:xfrm>
                <a:off x="6271117" y="143647"/>
                <a:ext cx="771525" cy="23857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/>
              </a:p>
            </p:txBody>
          </p:sp>
        </p:grpSp>
        <p:pic>
          <p:nvPicPr>
            <p:cNvPr id="18" name="Picture 17" descr="A black background with a black square&#10;&#10;AI-generated content may be incorrect.">
              <a:extLst>
                <a:ext uri="{FF2B5EF4-FFF2-40B4-BE49-F238E27FC236}">
                  <a16:creationId xmlns:a16="http://schemas.microsoft.com/office/drawing/2014/main" id="{C6737BF7-1DE7-46CE-BC7E-BE2FBBE238F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9837" y="48823"/>
              <a:ext cx="934769" cy="233412"/>
            </a:xfrm>
            <a:prstGeom prst="rect">
              <a:avLst/>
            </a:prstGeom>
          </p:spPr>
        </p:pic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id="{9E900E89-5985-39CD-EAAD-F4933409F05D}"/>
              </a:ext>
            </a:extLst>
          </p:cNvPr>
          <p:cNvSpPr txBox="1"/>
          <p:nvPr/>
        </p:nvSpPr>
        <p:spPr>
          <a:xfrm>
            <a:off x="719504" y="1474438"/>
            <a:ext cx="632553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Pada kondisi sebelumnya, pengelolaan data Inspeksi masih dilakukan secara :</a:t>
            </a:r>
            <a:endParaRPr lang="en-ID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C254FF6A-90E5-9785-F436-543C752605CA}"/>
              </a:ext>
            </a:extLst>
          </p:cNvPr>
          <p:cNvSpPr txBox="1"/>
          <p:nvPr/>
        </p:nvSpPr>
        <p:spPr>
          <a:xfrm>
            <a:off x="1372300" y="3748033"/>
            <a:ext cx="152575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Manual</a:t>
            </a:r>
            <a:endParaRPr lang="en-ID"/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491A8C53-5F87-20AB-A1B4-8BA27A0E3A8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454" y="2270326"/>
            <a:ext cx="1842839" cy="1662373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8D309283-8E6E-4661-FD65-949F6877F94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01761" y="2085660"/>
            <a:ext cx="2328109" cy="1662373"/>
          </a:xfrm>
          <a:prstGeom prst="rect">
            <a:avLst/>
          </a:prstGeom>
        </p:spPr>
      </p:pic>
      <p:sp>
        <p:nvSpPr>
          <p:cNvPr id="42" name="TextBox 41">
            <a:extLst>
              <a:ext uri="{FF2B5EF4-FFF2-40B4-BE49-F238E27FC236}">
                <a16:creationId xmlns:a16="http://schemas.microsoft.com/office/drawing/2014/main" id="{AAFAA1AF-3CB2-720D-7838-F9BA79C6382B}"/>
              </a:ext>
            </a:extLst>
          </p:cNvPr>
          <p:cNvSpPr txBox="1"/>
          <p:nvPr/>
        </p:nvSpPr>
        <p:spPr>
          <a:xfrm>
            <a:off x="3557282" y="3679659"/>
            <a:ext cx="184283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Tidak Terstuktur</a:t>
            </a:r>
            <a:endParaRPr lang="en-ID"/>
          </a:p>
        </p:txBody>
      </p:sp>
      <p:pic>
        <p:nvPicPr>
          <p:cNvPr id="44" name="Picture 43">
            <a:extLst>
              <a:ext uri="{FF2B5EF4-FFF2-40B4-BE49-F238E27FC236}">
                <a16:creationId xmlns:a16="http://schemas.microsoft.com/office/drawing/2014/main" id="{69107CB8-B3DA-2057-DD23-DD903B022BB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20552" y="1922220"/>
            <a:ext cx="1825813" cy="1825813"/>
          </a:xfrm>
          <a:prstGeom prst="rect">
            <a:avLst/>
          </a:prstGeom>
        </p:spPr>
      </p:pic>
      <p:sp>
        <p:nvSpPr>
          <p:cNvPr id="45" name="TextBox 44">
            <a:extLst>
              <a:ext uri="{FF2B5EF4-FFF2-40B4-BE49-F238E27FC236}">
                <a16:creationId xmlns:a16="http://schemas.microsoft.com/office/drawing/2014/main" id="{68AD5212-F89E-313B-8C55-10F022549C83}"/>
              </a:ext>
            </a:extLst>
          </p:cNvPr>
          <p:cNvSpPr txBox="1"/>
          <p:nvPr/>
        </p:nvSpPr>
        <p:spPr>
          <a:xfrm>
            <a:off x="5630517" y="3679659"/>
            <a:ext cx="27005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/>
              <a:t>Keamanan rendah</a:t>
            </a:r>
            <a:endParaRPr lang="en-ID"/>
          </a:p>
        </p:txBody>
      </p:sp>
      <p:pic>
        <p:nvPicPr>
          <p:cNvPr id="47" name="Picture 46">
            <a:extLst>
              <a:ext uri="{FF2B5EF4-FFF2-40B4-BE49-F238E27FC236}">
                <a16:creationId xmlns:a16="http://schemas.microsoft.com/office/drawing/2014/main" id="{83568282-0D48-CF83-BF6D-35D8DA26071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0718" y="1854077"/>
            <a:ext cx="2010248" cy="2010248"/>
          </a:xfrm>
          <a:prstGeom prst="rect">
            <a:avLst/>
          </a:prstGeom>
        </p:spPr>
      </p:pic>
      <p:sp>
        <p:nvSpPr>
          <p:cNvPr id="48" name="TextBox 47">
            <a:extLst>
              <a:ext uri="{FF2B5EF4-FFF2-40B4-BE49-F238E27FC236}">
                <a16:creationId xmlns:a16="http://schemas.microsoft.com/office/drawing/2014/main" id="{3DB022CC-3F8A-BCDA-B174-5E756006CBA3}"/>
              </a:ext>
            </a:extLst>
          </p:cNvPr>
          <p:cNvSpPr txBox="1"/>
          <p:nvPr/>
        </p:nvSpPr>
        <p:spPr>
          <a:xfrm>
            <a:off x="8331022" y="3748033"/>
            <a:ext cx="270050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/>
              <a:t>Kendala pada data</a:t>
            </a:r>
          </a:p>
          <a:p>
            <a:pPr algn="ctr"/>
            <a:r>
              <a:rPr lang="en-US" sz="1200"/>
              <a:t>(pencarian, kehilangan, inkonsistensi, dan duplikasi data)</a:t>
            </a:r>
            <a:endParaRPr lang="en-ID" sz="1200"/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1EC65A02-67F2-A918-18D9-AF958E48F36B}"/>
              </a:ext>
            </a:extLst>
          </p:cNvPr>
          <p:cNvSpPr txBox="1"/>
          <p:nvPr/>
        </p:nvSpPr>
        <p:spPr>
          <a:xfrm>
            <a:off x="850902" y="4446811"/>
            <a:ext cx="632553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Mengakibatkan (Masalah/Isu) sebagai berikut :</a:t>
            </a:r>
            <a:endParaRPr lang="en-ID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2B5431A2-DAB7-24B9-0B61-542A0DD0029B}"/>
              </a:ext>
            </a:extLst>
          </p:cNvPr>
          <p:cNvSpPr/>
          <p:nvPr/>
        </p:nvSpPr>
        <p:spPr>
          <a:xfrm>
            <a:off x="845017" y="4836925"/>
            <a:ext cx="7852174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28600" indent="-228600" algn="just">
              <a:buFont typeface="Arial" panose="020B0604020202020204" pitchFamily="34" charset="0"/>
              <a:buChar char="•"/>
            </a:pPr>
            <a:r>
              <a:rPr lang="en-ID" sz="1400" dirty="0">
                <a:latin typeface="+mj-lt"/>
              </a:rPr>
              <a:t>Data </a:t>
            </a:r>
            <a:r>
              <a:rPr lang="en-ID" sz="1400" dirty="0" err="1">
                <a:latin typeface="+mj-lt"/>
              </a:rPr>
              <a:t>inspeksi</a:t>
            </a:r>
            <a:r>
              <a:rPr lang="en-ID" sz="1400" dirty="0">
                <a:latin typeface="+mj-lt"/>
              </a:rPr>
              <a:t> </a:t>
            </a:r>
            <a:r>
              <a:rPr lang="en-ID" sz="1400" dirty="0" err="1">
                <a:latin typeface="+mj-lt"/>
              </a:rPr>
              <a:t>disimpan</a:t>
            </a:r>
            <a:r>
              <a:rPr lang="en-ID" sz="1400" dirty="0">
                <a:latin typeface="+mj-lt"/>
              </a:rPr>
              <a:t> di shared folder </a:t>
            </a:r>
            <a:r>
              <a:rPr lang="en-ID" sz="1400" dirty="0" err="1">
                <a:latin typeface="+mj-lt"/>
              </a:rPr>
              <a:t>tanpa</a:t>
            </a:r>
            <a:r>
              <a:rPr lang="en-ID" sz="1400" dirty="0">
                <a:latin typeface="+mj-lt"/>
              </a:rPr>
              <a:t> </a:t>
            </a:r>
            <a:r>
              <a:rPr lang="en-ID" sz="1400" dirty="0" err="1">
                <a:latin typeface="+mj-lt"/>
              </a:rPr>
              <a:t>struktur</a:t>
            </a:r>
            <a:r>
              <a:rPr lang="en-ID" sz="1400" dirty="0">
                <a:latin typeface="+mj-lt"/>
              </a:rPr>
              <a:t> </a:t>
            </a:r>
            <a:r>
              <a:rPr lang="en-ID" sz="1400" err="1">
                <a:latin typeface="+mj-lt"/>
              </a:rPr>
              <a:t>baku</a:t>
            </a:r>
            <a:r>
              <a:rPr lang="en-ID" sz="1400">
                <a:latin typeface="+mj-lt"/>
              </a:rPr>
              <a:t>, sehingga sulit </a:t>
            </a:r>
            <a:r>
              <a:rPr lang="en-ID" sz="1400" dirty="0" err="1">
                <a:latin typeface="+mj-lt"/>
              </a:rPr>
              <a:t>diakses</a:t>
            </a:r>
            <a:r>
              <a:rPr lang="en-ID" sz="1400" dirty="0">
                <a:latin typeface="+mj-lt"/>
              </a:rPr>
              <a:t> oleh </a:t>
            </a:r>
            <a:r>
              <a:rPr lang="en-ID" sz="1400" dirty="0" err="1">
                <a:latin typeface="+mj-lt"/>
              </a:rPr>
              <a:t>tim</a:t>
            </a:r>
            <a:r>
              <a:rPr lang="en-ID" sz="1400" dirty="0">
                <a:latin typeface="+mj-lt"/>
              </a:rPr>
              <a:t> lain.</a:t>
            </a:r>
          </a:p>
          <a:p>
            <a:pPr marL="228600" indent="-228600" algn="just">
              <a:buFont typeface="Arial" panose="020B0604020202020204" pitchFamily="34" charset="0"/>
              <a:buChar char="•"/>
            </a:pPr>
            <a:r>
              <a:rPr lang="en-ID" sz="1400" dirty="0">
                <a:latin typeface="+mj-lt"/>
              </a:rPr>
              <a:t>Tidak </a:t>
            </a:r>
            <a:r>
              <a:rPr lang="en-ID" sz="1400" dirty="0" err="1">
                <a:latin typeface="+mj-lt"/>
              </a:rPr>
              <a:t>ada</a:t>
            </a:r>
            <a:r>
              <a:rPr lang="en-ID" sz="1400" dirty="0">
                <a:latin typeface="+mj-lt"/>
              </a:rPr>
              <a:t> </a:t>
            </a:r>
            <a:r>
              <a:rPr lang="en-ID" sz="1400" dirty="0" err="1">
                <a:latin typeface="+mj-lt"/>
              </a:rPr>
              <a:t>kontrol</a:t>
            </a:r>
            <a:r>
              <a:rPr lang="en-ID" sz="1400" dirty="0">
                <a:latin typeface="+mj-lt"/>
              </a:rPr>
              <a:t> </a:t>
            </a:r>
            <a:r>
              <a:rPr lang="en-ID" sz="1400" dirty="0" err="1">
                <a:latin typeface="+mj-lt"/>
              </a:rPr>
              <a:t>akses</a:t>
            </a:r>
            <a:r>
              <a:rPr lang="en-ID" sz="1400" dirty="0">
                <a:latin typeface="+mj-lt"/>
              </a:rPr>
              <a:t> (user </a:t>
            </a:r>
            <a:r>
              <a:rPr lang="en-ID" sz="1400" dirty="0" err="1">
                <a:latin typeface="+mj-lt"/>
              </a:rPr>
              <a:t>bebas</a:t>
            </a:r>
            <a:r>
              <a:rPr lang="en-ID" sz="1400" dirty="0">
                <a:latin typeface="+mj-lt"/>
              </a:rPr>
              <a:t> edit / hapus data )</a:t>
            </a:r>
          </a:p>
          <a:p>
            <a:pPr marL="228600" indent="-228600" algn="just">
              <a:buFont typeface="Arial" panose="020B0604020202020204" pitchFamily="34" charset="0"/>
              <a:buChar char="•"/>
            </a:pPr>
            <a:r>
              <a:rPr lang="en-ID" sz="1400" dirty="0" err="1">
                <a:latin typeface="+mj-lt"/>
              </a:rPr>
              <a:t>Risiko</a:t>
            </a:r>
            <a:r>
              <a:rPr lang="en-ID" sz="1400" dirty="0">
                <a:latin typeface="+mj-lt"/>
              </a:rPr>
              <a:t> </a:t>
            </a:r>
            <a:r>
              <a:rPr lang="en-ID" sz="1400" dirty="0" err="1">
                <a:latin typeface="+mj-lt"/>
              </a:rPr>
              <a:t>keamanan</a:t>
            </a:r>
            <a:r>
              <a:rPr lang="en-ID" sz="1400" dirty="0">
                <a:latin typeface="+mj-lt"/>
              </a:rPr>
              <a:t> data </a:t>
            </a:r>
            <a:r>
              <a:rPr lang="en-ID" sz="1400" dirty="0" err="1">
                <a:latin typeface="+mj-lt"/>
              </a:rPr>
              <a:t>tinggi</a:t>
            </a:r>
            <a:r>
              <a:rPr lang="en-ID" sz="1400" dirty="0">
                <a:latin typeface="+mj-lt"/>
              </a:rPr>
              <a:t> (</a:t>
            </a:r>
            <a:r>
              <a:rPr lang="en-ID" sz="1400" dirty="0" err="1">
                <a:latin typeface="+mj-lt"/>
              </a:rPr>
              <a:t>mudah</a:t>
            </a:r>
            <a:r>
              <a:rPr lang="en-ID" sz="1400" dirty="0">
                <a:latin typeface="+mj-lt"/>
              </a:rPr>
              <a:t> </a:t>
            </a:r>
            <a:r>
              <a:rPr lang="en-ID" sz="1400" dirty="0" err="1">
                <a:latin typeface="+mj-lt"/>
              </a:rPr>
              <a:t>hilang</a:t>
            </a:r>
            <a:r>
              <a:rPr lang="en-ID" sz="1400" dirty="0">
                <a:latin typeface="+mj-lt"/>
              </a:rPr>
              <a:t> / </a:t>
            </a:r>
            <a:r>
              <a:rPr lang="en-ID" sz="1400" dirty="0" err="1">
                <a:latin typeface="+mj-lt"/>
              </a:rPr>
              <a:t>diubah</a:t>
            </a:r>
            <a:r>
              <a:rPr lang="en-ID" sz="1400" dirty="0">
                <a:latin typeface="+mj-lt"/>
              </a:rPr>
              <a:t> </a:t>
            </a:r>
            <a:r>
              <a:rPr lang="en-ID" sz="1400" dirty="0" err="1">
                <a:latin typeface="+mj-lt"/>
              </a:rPr>
              <a:t>tanpa</a:t>
            </a:r>
            <a:r>
              <a:rPr lang="en-ID" sz="1400" dirty="0">
                <a:latin typeface="+mj-lt"/>
              </a:rPr>
              <a:t> </a:t>
            </a:r>
            <a:r>
              <a:rPr lang="en-ID" sz="1400" dirty="0" err="1">
                <a:latin typeface="+mj-lt"/>
              </a:rPr>
              <a:t>izin</a:t>
            </a:r>
            <a:r>
              <a:rPr lang="en-ID" sz="1400" dirty="0">
                <a:latin typeface="+mj-lt"/>
              </a:rPr>
              <a:t>)</a:t>
            </a:r>
          </a:p>
          <a:p>
            <a:pPr marL="228600" indent="-228600" algn="just">
              <a:buFont typeface="Arial" panose="020B0604020202020204" pitchFamily="34" charset="0"/>
              <a:buChar char="•"/>
            </a:pPr>
            <a:r>
              <a:rPr lang="en-ID" sz="1400" dirty="0">
                <a:latin typeface="+mj-lt"/>
              </a:rPr>
              <a:t>Monitoring Real-Time </a:t>
            </a:r>
            <a:r>
              <a:rPr lang="en-ID" sz="1400" err="1">
                <a:latin typeface="+mj-lt"/>
              </a:rPr>
              <a:t>tidak</a:t>
            </a:r>
            <a:r>
              <a:rPr lang="en-ID" sz="1400">
                <a:latin typeface="+mj-lt"/>
              </a:rPr>
              <a:t> tersedia sehingga menyulitkan pengumpulan data yang akan di monitoring</a:t>
            </a:r>
            <a:endParaRPr lang="en-ID" sz="1400" dirty="0">
              <a:latin typeface="+mj-lt"/>
            </a:endParaRPr>
          </a:p>
          <a:p>
            <a:pPr marL="228600" indent="-228600" algn="just">
              <a:buFont typeface="Arial" panose="020B0604020202020204" pitchFamily="34" charset="0"/>
              <a:buChar char="•"/>
            </a:pPr>
            <a:r>
              <a:rPr lang="en-ID" sz="1400" dirty="0" err="1">
                <a:latin typeface="+mj-lt"/>
              </a:rPr>
              <a:t>Kolaborasi</a:t>
            </a:r>
            <a:r>
              <a:rPr lang="en-ID" sz="1400" dirty="0">
                <a:latin typeface="+mj-lt"/>
              </a:rPr>
              <a:t> </a:t>
            </a:r>
            <a:r>
              <a:rPr lang="en-ID" sz="1400" dirty="0" err="1">
                <a:latin typeface="+mj-lt"/>
              </a:rPr>
              <a:t>antar</a:t>
            </a:r>
            <a:r>
              <a:rPr lang="en-ID" sz="1400" dirty="0">
                <a:latin typeface="+mj-lt"/>
              </a:rPr>
              <a:t> </a:t>
            </a:r>
            <a:r>
              <a:rPr lang="en-ID" sz="1400" dirty="0" err="1">
                <a:latin typeface="+mj-lt"/>
              </a:rPr>
              <a:t>fungsi</a:t>
            </a:r>
            <a:r>
              <a:rPr lang="en-ID" sz="1400" dirty="0">
                <a:latin typeface="+mj-lt"/>
              </a:rPr>
              <a:t> </a:t>
            </a:r>
            <a:r>
              <a:rPr lang="en-ID" sz="1400" dirty="0" err="1">
                <a:latin typeface="+mj-lt"/>
              </a:rPr>
              <a:t>terganggu</a:t>
            </a:r>
            <a:r>
              <a:rPr lang="en-ID" sz="1400">
                <a:latin typeface="+mj-lt"/>
              </a:rPr>
              <a:t>, sehingga proses </a:t>
            </a:r>
            <a:r>
              <a:rPr lang="en-ID" sz="1400" dirty="0">
                <a:latin typeface="+mj-lt"/>
              </a:rPr>
              <a:t>sharing data </a:t>
            </a:r>
            <a:r>
              <a:rPr lang="en-ID" sz="1400" dirty="0" err="1">
                <a:latin typeface="+mj-lt"/>
              </a:rPr>
              <a:t>tidak</a:t>
            </a:r>
            <a:r>
              <a:rPr lang="en-ID" sz="1400" dirty="0">
                <a:latin typeface="+mj-lt"/>
              </a:rPr>
              <a:t> </a:t>
            </a:r>
            <a:r>
              <a:rPr lang="en-ID" sz="1400" dirty="0" err="1">
                <a:latin typeface="+mj-lt"/>
              </a:rPr>
              <a:t>efisien</a:t>
            </a:r>
            <a:r>
              <a:rPr lang="en-ID" sz="1400" dirty="0">
                <a:latin typeface="+mj-lt"/>
              </a:rPr>
              <a:t>.</a:t>
            </a:r>
          </a:p>
          <a:p>
            <a:pPr marL="228600" indent="-228600" algn="just">
              <a:buFont typeface="Arial" panose="020B0604020202020204" pitchFamily="34" charset="0"/>
              <a:buChar char="•"/>
            </a:pPr>
            <a:r>
              <a:rPr lang="en-ID" sz="1400" dirty="0">
                <a:latin typeface="+mj-lt"/>
              </a:rPr>
              <a:t>Waktu </a:t>
            </a:r>
            <a:r>
              <a:rPr lang="en-ID" sz="1400" dirty="0" err="1">
                <a:latin typeface="+mj-lt"/>
              </a:rPr>
              <a:t>pencarian</a:t>
            </a:r>
            <a:r>
              <a:rPr lang="en-ID" sz="1400" dirty="0">
                <a:latin typeface="+mj-lt"/>
              </a:rPr>
              <a:t> data lama</a:t>
            </a:r>
            <a:r>
              <a:rPr lang="en-ID" sz="1400">
                <a:latin typeface="+mj-lt"/>
              </a:rPr>
              <a:t>, jadi menghambat </a:t>
            </a:r>
            <a:r>
              <a:rPr lang="en-ID" sz="1400" dirty="0" err="1">
                <a:latin typeface="+mj-lt"/>
              </a:rPr>
              <a:t>pengambilan</a:t>
            </a:r>
            <a:r>
              <a:rPr lang="en-ID" sz="1400" dirty="0">
                <a:latin typeface="+mj-lt"/>
              </a:rPr>
              <a:t> </a:t>
            </a:r>
            <a:r>
              <a:rPr lang="en-ID" sz="1400" dirty="0" err="1">
                <a:latin typeface="+mj-lt"/>
              </a:rPr>
              <a:t>keputusan</a:t>
            </a:r>
            <a:r>
              <a:rPr lang="en-ID" sz="1400" dirty="0">
                <a:latin typeface="+mj-lt"/>
              </a:rPr>
              <a:t> dan proses </a:t>
            </a:r>
            <a:r>
              <a:rPr lang="en-ID" sz="1400" dirty="0" err="1">
                <a:latin typeface="+mj-lt"/>
              </a:rPr>
              <a:t>perbaikan</a:t>
            </a:r>
            <a:r>
              <a:rPr lang="en-ID" sz="1400" dirty="0">
                <a:latin typeface="+mj-lt"/>
              </a:rPr>
              <a:t>.</a:t>
            </a:r>
          </a:p>
        </p:txBody>
      </p:sp>
      <p:pic>
        <p:nvPicPr>
          <p:cNvPr id="3" name="Picture 2" descr="A black screen with white text&#10;&#10;Description automatically generated">
            <a:extLst>
              <a:ext uri="{FF2B5EF4-FFF2-40B4-BE49-F238E27FC236}">
                <a16:creationId xmlns:a16="http://schemas.microsoft.com/office/drawing/2014/main" id="{6D3AAF74-5AD0-A040-6CA6-F0011DD74330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726" t="87519"/>
          <a:stretch/>
        </p:blipFill>
        <p:spPr>
          <a:xfrm>
            <a:off x="11584425" y="6477417"/>
            <a:ext cx="607574" cy="378163"/>
          </a:xfrm>
          <a:prstGeom prst="rect">
            <a:avLst/>
          </a:prstGeom>
        </p:spPr>
      </p:pic>
      <p:pic>
        <p:nvPicPr>
          <p:cNvPr id="4" name="Picture 3" descr="A black screen with white text&#10;&#10;Description automatically generated">
            <a:extLst>
              <a:ext uri="{FF2B5EF4-FFF2-40B4-BE49-F238E27FC236}">
                <a16:creationId xmlns:a16="http://schemas.microsoft.com/office/drawing/2014/main" id="{649B81A7-BEC2-7ECE-1E5B-64A9108CE3F1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311" r="78841"/>
          <a:stretch/>
        </p:blipFill>
        <p:spPr>
          <a:xfrm>
            <a:off x="0" y="6478090"/>
            <a:ext cx="1425463" cy="388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85517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12EA7075-95AB-FA5A-390E-DB3C120CBF1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36" y="0"/>
            <a:ext cx="12193473" cy="6858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76536DE4-0118-202A-4103-0FAD0AF7C3DC}"/>
              </a:ext>
            </a:extLst>
          </p:cNvPr>
          <p:cNvSpPr txBox="1"/>
          <p:nvPr/>
        </p:nvSpPr>
        <p:spPr>
          <a:xfrm>
            <a:off x="529115" y="2413337"/>
            <a:ext cx="7097117" cy="1015663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r>
              <a:rPr lang="en-US" sz="6000" b="1" dirty="0" err="1">
                <a:solidFill>
                  <a:srgbClr val="0C345B"/>
                </a:solidFill>
                <a:latin typeface="FUTURA MEDIUM" panose="020B0602020204020303" pitchFamily="34" charset="-79"/>
                <a:ea typeface="Roboto Black" panose="02000000000000000000" pitchFamily="2" charset="0"/>
                <a:cs typeface="FUTURA MEDIUM" panose="020B0602020204020303" pitchFamily="34" charset="-79"/>
              </a:rPr>
              <a:t>Terima</a:t>
            </a:r>
            <a:r>
              <a:rPr lang="en-US" sz="6000" b="1" dirty="0">
                <a:solidFill>
                  <a:srgbClr val="0C345B"/>
                </a:solidFill>
                <a:latin typeface="FUTURA MEDIUM" panose="020B0602020204020303" pitchFamily="34" charset="-79"/>
                <a:ea typeface="Roboto Black" panose="02000000000000000000" pitchFamily="2" charset="0"/>
                <a:cs typeface="FUTURA MEDIUM" panose="020B0602020204020303" pitchFamily="34" charset="-79"/>
              </a:rPr>
              <a:t> Kasih</a:t>
            </a:r>
            <a:endParaRPr lang="en-US" sz="6000" b="1" dirty="0">
              <a:latin typeface="FUTURA MEDIUM" panose="020B0602020204020303" pitchFamily="34" charset="-79"/>
              <a:cs typeface="FUTURA MEDIUM" panose="020B0602020204020303" pitchFamily="34" charset="-79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F593CE5F-CBDB-09D4-4B54-4C1A00696CF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1708" y="0"/>
            <a:ext cx="12213708" cy="68702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24422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FF0B3B8-C8F9-5C9F-9947-A83E50C710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4F2B73E0-5510-2543-A539-4EBDF7C6E7AA}"/>
              </a:ext>
            </a:extLst>
          </p:cNvPr>
          <p:cNvGrpSpPr/>
          <p:nvPr/>
        </p:nvGrpSpPr>
        <p:grpSpPr>
          <a:xfrm>
            <a:off x="-5884" y="-15914"/>
            <a:ext cx="12197884" cy="6858000"/>
            <a:chOff x="0" y="0"/>
            <a:chExt cx="12197884" cy="6858000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089E5F5C-2CF3-A336-4AAA-BABEBC3D6430}"/>
                </a:ext>
              </a:extLst>
            </p:cNvPr>
            <p:cNvSpPr/>
            <p:nvPr/>
          </p:nvSpPr>
          <p:spPr>
            <a:xfrm>
              <a:off x="0" y="0"/>
              <a:ext cx="12197884" cy="6858000"/>
            </a:xfrm>
            <a:prstGeom prst="rect">
              <a:avLst/>
            </a:prstGeom>
            <a:gradFill>
              <a:gsLst>
                <a:gs pos="0">
                  <a:schemeClr val="accent1">
                    <a:lumMod val="5000"/>
                    <a:lumOff val="95000"/>
                    <a:alpha val="0"/>
                  </a:schemeClr>
                </a:gs>
                <a:gs pos="97000">
                  <a:srgbClr val="A6E1BD">
                    <a:alpha val="42115"/>
                  </a:srgbClr>
                </a:gs>
              </a:gsLst>
              <a:lin ang="4200000" scaled="0"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BCEEBC46-D01A-1B7A-CEBE-D406C8AD3E2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0"/>
              <a:ext cx="12192000" cy="6858000"/>
            </a:xfrm>
            <a:prstGeom prst="rect">
              <a:avLst/>
            </a:prstGeom>
          </p:spPr>
        </p:pic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2BDF869D-05D1-F453-E67E-8BBEEF668A0E}"/>
              </a:ext>
            </a:extLst>
          </p:cNvPr>
          <p:cNvSpPr txBox="1"/>
          <p:nvPr/>
        </p:nvSpPr>
        <p:spPr>
          <a:xfrm>
            <a:off x="719504" y="756359"/>
            <a:ext cx="9629841" cy="56188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>
              <a:lnSpc>
                <a:spcPct val="120000"/>
              </a:lnSpc>
            </a:pPr>
            <a:r>
              <a:rPr lang="en-US" sz="2800" b="1">
                <a:solidFill>
                  <a:srgbClr val="0C345B"/>
                </a:solidFill>
                <a:latin typeface="Futura Medium" panose="020B0602020204020303" pitchFamily="34" charset="-79"/>
                <a:cs typeface="FUTURA MEDIUM" panose="020B0602020204020303" pitchFamily="34" charset="-79"/>
              </a:rPr>
              <a:t>Faktor Penyebab Dominan &amp; Solusi Terpilih</a:t>
            </a:r>
            <a:endParaRPr lang="en-US" sz="2800" dirty="0">
              <a:solidFill>
                <a:srgbClr val="0C345B"/>
              </a:solidFill>
              <a:latin typeface="Futura Medium" panose="020B0602020204020303" pitchFamily="34" charset="-79"/>
              <a:cs typeface="Futura Medium" panose="020B0602020204020303" pitchFamily="34" charset="-79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EBDE1DC7-7FF1-24B9-5455-08F4AB8321A5}"/>
              </a:ext>
            </a:extLst>
          </p:cNvPr>
          <p:cNvGrpSpPr/>
          <p:nvPr/>
        </p:nvGrpSpPr>
        <p:grpSpPr>
          <a:xfrm>
            <a:off x="0" y="-6002"/>
            <a:ext cx="1439008" cy="463236"/>
            <a:chOff x="93023" y="-6002"/>
            <a:chExt cx="1439008" cy="463236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8552DF94-BC60-00A0-CB86-07E1641115F0}"/>
                </a:ext>
              </a:extLst>
            </p:cNvPr>
            <p:cNvGrpSpPr/>
            <p:nvPr/>
          </p:nvGrpSpPr>
          <p:grpSpPr>
            <a:xfrm>
              <a:off x="93023" y="-6002"/>
              <a:ext cx="1439008" cy="463236"/>
              <a:chOff x="6171866" y="126174"/>
              <a:chExt cx="1126238" cy="369332"/>
            </a:xfrm>
          </p:grpSpPr>
          <p:pic>
            <p:nvPicPr>
              <p:cNvPr id="19" name="Picture 18">
                <a:extLst>
                  <a:ext uri="{FF2B5EF4-FFF2-40B4-BE49-F238E27FC236}">
                    <a16:creationId xmlns:a16="http://schemas.microsoft.com/office/drawing/2014/main" id="{0332FDCC-DE8B-C267-B65F-CF25FF906AA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74148" b="84200"/>
              <a:stretch/>
            </p:blipFill>
            <p:spPr>
              <a:xfrm flipH="1">
                <a:off x="6171866" y="126174"/>
                <a:ext cx="1126238" cy="369332"/>
              </a:xfrm>
              <a:prstGeom prst="rect">
                <a:avLst/>
              </a:prstGeom>
              <a:effectLst>
                <a:outerShdw blurRad="50800" dist="38100" dir="8100000" algn="tr" rotWithShape="0">
                  <a:prstClr val="black">
                    <a:alpha val="40000"/>
                  </a:prstClr>
                </a:outerShdw>
              </a:effectLst>
            </p:spPr>
          </p:pic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D115B7E1-629B-3FCD-ABD9-3FBA9E87C8D7}"/>
                  </a:ext>
                </a:extLst>
              </p:cNvPr>
              <p:cNvSpPr/>
              <p:nvPr/>
            </p:nvSpPr>
            <p:spPr>
              <a:xfrm>
                <a:off x="6271117" y="143647"/>
                <a:ext cx="771525" cy="23857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/>
              </a:p>
            </p:txBody>
          </p:sp>
        </p:grpSp>
        <p:pic>
          <p:nvPicPr>
            <p:cNvPr id="18" name="Picture 17" descr="A black background with a black square&#10;&#10;AI-generated content may be incorrect.">
              <a:extLst>
                <a:ext uri="{FF2B5EF4-FFF2-40B4-BE49-F238E27FC236}">
                  <a16:creationId xmlns:a16="http://schemas.microsoft.com/office/drawing/2014/main" id="{E568FDFB-27C7-17F5-66D3-34710C040CA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9837" y="48823"/>
              <a:ext cx="934769" cy="233412"/>
            </a:xfrm>
            <a:prstGeom prst="rect">
              <a:avLst/>
            </a:prstGeom>
          </p:spPr>
        </p:pic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id="{8C5335B8-2AE3-3C75-2953-5CDBA0D5CD17}"/>
              </a:ext>
            </a:extLst>
          </p:cNvPr>
          <p:cNvSpPr txBox="1"/>
          <p:nvPr/>
        </p:nvSpPr>
        <p:spPr>
          <a:xfrm>
            <a:off x="719504" y="1474438"/>
            <a:ext cx="962984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ID"/>
              <a:t>Faktor penyebab dominan masalah ini adalah </a:t>
            </a:r>
            <a:r>
              <a:rPr lang="en-ID">
                <a:solidFill>
                  <a:srgbClr val="C00000"/>
                </a:solidFill>
              </a:rPr>
              <a:t>belum adanya database terpusat</a:t>
            </a:r>
            <a:r>
              <a:rPr lang="en-ID"/>
              <a:t> yang menyebabkan data tersebar, duplikasi, dan sulit ditelusuri, ditambah </a:t>
            </a:r>
            <a:r>
              <a:rPr lang="en-ID">
                <a:solidFill>
                  <a:srgbClr val="C00000"/>
                </a:solidFill>
              </a:rPr>
              <a:t>lemahnya kontrol akses</a:t>
            </a:r>
            <a:r>
              <a:rPr lang="en-ID"/>
              <a:t> yang memungkinkan pengguna mengubah data di luar wewenangnya sehingga akuntabilitas rendah, serta risiko keamanan data yang tinggi karena </a:t>
            </a:r>
            <a:r>
              <a:rPr lang="en-ID">
                <a:solidFill>
                  <a:srgbClr val="C00000"/>
                </a:solidFill>
              </a:rPr>
              <a:t>tidak adanya backup dan pencatatan histori yang memadai</a:t>
            </a:r>
            <a:r>
              <a:rPr lang="en-ID"/>
              <a:t>.</a:t>
            </a:r>
            <a:endParaRPr lang="en-ID" dirty="0">
              <a:highlight>
                <a:srgbClr val="FF0000"/>
              </a:highlight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8A20715B-5F2E-85A8-D7B1-CDFAA3586316}"/>
              </a:ext>
            </a:extLst>
          </p:cNvPr>
          <p:cNvSpPr txBox="1"/>
          <p:nvPr/>
        </p:nvSpPr>
        <p:spPr>
          <a:xfrm>
            <a:off x="1061583" y="3479642"/>
            <a:ext cx="632553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/>
              <a:t>Lalu apa solusinnya?</a:t>
            </a:r>
            <a:endParaRPr lang="en-ID" sz="2400" b="1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B7BB6AF-DD8A-A641-B2CB-43E83735F3F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8866" y="3964974"/>
            <a:ext cx="1655902" cy="1655902"/>
          </a:xfrm>
          <a:prstGeom prst="rect">
            <a:avLst/>
          </a:prstGeom>
        </p:spPr>
      </p:pic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C4CB4E4B-ADA6-CC78-019F-9F2E0D2BD453}"/>
              </a:ext>
            </a:extLst>
          </p:cNvPr>
          <p:cNvCxnSpPr/>
          <p:nvPr/>
        </p:nvCxnSpPr>
        <p:spPr>
          <a:xfrm>
            <a:off x="3460176" y="4800605"/>
            <a:ext cx="581891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Picture 22">
            <a:extLst>
              <a:ext uri="{FF2B5EF4-FFF2-40B4-BE49-F238E27FC236}">
                <a16:creationId xmlns:a16="http://schemas.microsoft.com/office/drawing/2014/main" id="{B22FE819-66B1-A6AD-5F88-BD4443F4BED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297"/>
          <a:stretch>
            <a:fillRect/>
          </a:stretch>
        </p:blipFill>
        <p:spPr>
          <a:xfrm>
            <a:off x="4050971" y="3651786"/>
            <a:ext cx="2471527" cy="2266462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1C3122A0-0889-3E20-727E-D0D80805735A}"/>
              </a:ext>
            </a:extLst>
          </p:cNvPr>
          <p:cNvSpPr txBox="1"/>
          <p:nvPr/>
        </p:nvSpPr>
        <p:spPr>
          <a:xfrm>
            <a:off x="6412237" y="4365629"/>
            <a:ext cx="405140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/>
              <a:t>Dilengkapi fitur audit trail, monitoring real-time, backup otomatis, serta kontrol akses berbasis peran (</a:t>
            </a:r>
            <a:r>
              <a:rPr lang="en-ID" i="1"/>
              <a:t>role-based</a:t>
            </a:r>
            <a:r>
              <a:rPr lang="en-ID"/>
              <a:t>) untuk menjaga keamanan dan akurasi data.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A72BFB2-CA8E-A152-9755-289765C93B67}"/>
              </a:ext>
            </a:extLst>
          </p:cNvPr>
          <p:cNvSpPr txBox="1"/>
          <p:nvPr/>
        </p:nvSpPr>
        <p:spPr>
          <a:xfrm>
            <a:off x="6406353" y="3907141"/>
            <a:ext cx="107026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/>
              <a:t>IDMS</a:t>
            </a:r>
            <a:endParaRPr lang="en-ID" sz="2800" b="1"/>
          </a:p>
        </p:txBody>
      </p:sp>
      <p:pic>
        <p:nvPicPr>
          <p:cNvPr id="3" name="Picture 2" descr="A black screen with white text&#10;&#10;Description automatically generated">
            <a:extLst>
              <a:ext uri="{FF2B5EF4-FFF2-40B4-BE49-F238E27FC236}">
                <a16:creationId xmlns:a16="http://schemas.microsoft.com/office/drawing/2014/main" id="{4B9B20F3-EBA0-D2ED-ECFA-03E4DCFD266E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726" t="87519"/>
          <a:stretch/>
        </p:blipFill>
        <p:spPr>
          <a:xfrm>
            <a:off x="11584425" y="6477417"/>
            <a:ext cx="607574" cy="378163"/>
          </a:xfrm>
          <a:prstGeom prst="rect">
            <a:avLst/>
          </a:prstGeom>
        </p:spPr>
      </p:pic>
      <p:pic>
        <p:nvPicPr>
          <p:cNvPr id="4" name="Picture 3" descr="A black screen with white text&#10;&#10;Description automatically generated">
            <a:extLst>
              <a:ext uri="{FF2B5EF4-FFF2-40B4-BE49-F238E27FC236}">
                <a16:creationId xmlns:a16="http://schemas.microsoft.com/office/drawing/2014/main" id="{A65ABFC7-AE2D-1348-0431-89994A2709D2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311" r="78841"/>
          <a:stretch/>
        </p:blipFill>
        <p:spPr>
          <a:xfrm>
            <a:off x="0" y="6478090"/>
            <a:ext cx="1425463" cy="388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716907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7F43AF9-F0F8-DB09-FAF7-770F42CE818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D9EA8074-72C7-CC8A-A566-4CC1687595FB}"/>
              </a:ext>
            </a:extLst>
          </p:cNvPr>
          <p:cNvGrpSpPr/>
          <p:nvPr/>
        </p:nvGrpSpPr>
        <p:grpSpPr>
          <a:xfrm>
            <a:off x="-5884" y="-15914"/>
            <a:ext cx="12197884" cy="6858000"/>
            <a:chOff x="0" y="0"/>
            <a:chExt cx="12197884" cy="6858000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30E60400-37B1-5348-C5D8-DCF5E04D6479}"/>
                </a:ext>
              </a:extLst>
            </p:cNvPr>
            <p:cNvSpPr/>
            <p:nvPr/>
          </p:nvSpPr>
          <p:spPr>
            <a:xfrm>
              <a:off x="0" y="0"/>
              <a:ext cx="12197884" cy="6858000"/>
            </a:xfrm>
            <a:prstGeom prst="rect">
              <a:avLst/>
            </a:prstGeom>
            <a:gradFill>
              <a:gsLst>
                <a:gs pos="0">
                  <a:schemeClr val="accent1">
                    <a:lumMod val="5000"/>
                    <a:lumOff val="95000"/>
                    <a:alpha val="0"/>
                  </a:schemeClr>
                </a:gs>
                <a:gs pos="97000">
                  <a:srgbClr val="A6E1BD">
                    <a:alpha val="42115"/>
                  </a:srgbClr>
                </a:gs>
              </a:gsLst>
              <a:lin ang="4200000" scaled="0"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470C504D-6AB3-C4C6-A8A5-1434EA58DD9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0"/>
              <a:ext cx="12192000" cy="6858000"/>
            </a:xfrm>
            <a:prstGeom prst="rect">
              <a:avLst/>
            </a:prstGeom>
          </p:spPr>
        </p:pic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5D834389-16FB-43D6-A54D-ED3ACC2244CF}"/>
              </a:ext>
            </a:extLst>
          </p:cNvPr>
          <p:cNvSpPr txBox="1"/>
          <p:nvPr/>
        </p:nvSpPr>
        <p:spPr>
          <a:xfrm>
            <a:off x="1275195" y="418157"/>
            <a:ext cx="9629841" cy="56188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>
              <a:lnSpc>
                <a:spcPct val="120000"/>
              </a:lnSpc>
            </a:pPr>
            <a:r>
              <a:rPr lang="en-US" sz="2800" b="1">
                <a:solidFill>
                  <a:srgbClr val="0C345B"/>
                </a:solidFill>
                <a:latin typeface="Futura Medium" panose="020B0602020204020303" pitchFamily="34" charset="-79"/>
                <a:cs typeface="FUTURA MEDIUM" panose="020B0602020204020303" pitchFamily="34" charset="-79"/>
              </a:rPr>
              <a:t>Kondisi Setelah Solusi / Perubahan yang Dilakukan</a:t>
            </a:r>
            <a:endParaRPr lang="en-US" sz="2800" dirty="0">
              <a:solidFill>
                <a:srgbClr val="0C345B"/>
              </a:solidFill>
              <a:latin typeface="Futura Medium" panose="020B0602020204020303" pitchFamily="34" charset="-79"/>
              <a:cs typeface="Futura Medium" panose="020B0602020204020303" pitchFamily="34" charset="-79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C1D6D6FD-BDFB-CC35-DFA0-43B4438F9010}"/>
              </a:ext>
            </a:extLst>
          </p:cNvPr>
          <p:cNvGrpSpPr/>
          <p:nvPr/>
        </p:nvGrpSpPr>
        <p:grpSpPr>
          <a:xfrm>
            <a:off x="0" y="-6002"/>
            <a:ext cx="1439008" cy="463236"/>
            <a:chOff x="93023" y="-6002"/>
            <a:chExt cx="1439008" cy="463236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62DBCBB4-E28C-B245-D522-D6249BCD5FA4}"/>
                </a:ext>
              </a:extLst>
            </p:cNvPr>
            <p:cNvGrpSpPr/>
            <p:nvPr/>
          </p:nvGrpSpPr>
          <p:grpSpPr>
            <a:xfrm>
              <a:off x="93023" y="-6002"/>
              <a:ext cx="1439008" cy="463236"/>
              <a:chOff x="6171866" y="126174"/>
              <a:chExt cx="1126238" cy="369332"/>
            </a:xfrm>
          </p:grpSpPr>
          <p:pic>
            <p:nvPicPr>
              <p:cNvPr id="19" name="Picture 18">
                <a:extLst>
                  <a:ext uri="{FF2B5EF4-FFF2-40B4-BE49-F238E27FC236}">
                    <a16:creationId xmlns:a16="http://schemas.microsoft.com/office/drawing/2014/main" id="{1A0D7418-A480-1248-AE09-409AEAC1078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74148" b="84200"/>
              <a:stretch/>
            </p:blipFill>
            <p:spPr>
              <a:xfrm flipH="1">
                <a:off x="6171866" y="126174"/>
                <a:ext cx="1126238" cy="369332"/>
              </a:xfrm>
              <a:prstGeom prst="rect">
                <a:avLst/>
              </a:prstGeom>
              <a:effectLst>
                <a:outerShdw blurRad="50800" dist="38100" dir="8100000" algn="tr" rotWithShape="0">
                  <a:prstClr val="black">
                    <a:alpha val="40000"/>
                  </a:prstClr>
                </a:outerShdw>
              </a:effectLst>
            </p:spPr>
          </p:pic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F9EC1315-783C-84A9-F374-CC1965E6145E}"/>
                  </a:ext>
                </a:extLst>
              </p:cNvPr>
              <p:cNvSpPr/>
              <p:nvPr/>
            </p:nvSpPr>
            <p:spPr>
              <a:xfrm>
                <a:off x="6271117" y="143647"/>
                <a:ext cx="771525" cy="23857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/>
              </a:p>
            </p:txBody>
          </p:sp>
        </p:grpSp>
        <p:pic>
          <p:nvPicPr>
            <p:cNvPr id="18" name="Picture 17" descr="A black background with a black square&#10;&#10;AI-generated content may be incorrect.">
              <a:extLst>
                <a:ext uri="{FF2B5EF4-FFF2-40B4-BE49-F238E27FC236}">
                  <a16:creationId xmlns:a16="http://schemas.microsoft.com/office/drawing/2014/main" id="{B17B7AD3-432A-EFA8-C1C8-8C6B6F3EBF0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9837" y="48823"/>
              <a:ext cx="934769" cy="233412"/>
            </a:xfrm>
            <a:prstGeom prst="rect">
              <a:avLst/>
            </a:prstGeom>
          </p:spPr>
        </p:pic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28D47FBA-B7C7-C9A6-7F73-46DE1D10093B}"/>
              </a:ext>
            </a:extLst>
          </p:cNvPr>
          <p:cNvGrpSpPr/>
          <p:nvPr/>
        </p:nvGrpSpPr>
        <p:grpSpPr>
          <a:xfrm>
            <a:off x="719504" y="1463662"/>
            <a:ext cx="9798145" cy="5233005"/>
            <a:chOff x="796327" y="1564297"/>
            <a:chExt cx="9798145" cy="5233005"/>
          </a:xfrm>
        </p:grpSpPr>
        <p:grpSp>
          <p:nvGrpSpPr>
            <p:cNvPr id="46" name="Group 45">
              <a:extLst>
                <a:ext uri="{FF2B5EF4-FFF2-40B4-BE49-F238E27FC236}">
                  <a16:creationId xmlns:a16="http://schemas.microsoft.com/office/drawing/2014/main" id="{9E5096DC-2047-1302-4476-6E13F49B2F33}"/>
                </a:ext>
              </a:extLst>
            </p:cNvPr>
            <p:cNvGrpSpPr/>
            <p:nvPr/>
          </p:nvGrpSpPr>
          <p:grpSpPr>
            <a:xfrm>
              <a:off x="802674" y="1564297"/>
              <a:ext cx="9675180" cy="903971"/>
              <a:chOff x="802674" y="1564297"/>
              <a:chExt cx="9675180" cy="903971"/>
            </a:xfrm>
          </p:grpSpPr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E7481122-D692-FD8C-91F0-A5247BF3FB0A}"/>
                  </a:ext>
                </a:extLst>
              </p:cNvPr>
              <p:cNvSpPr txBox="1"/>
              <p:nvPr/>
            </p:nvSpPr>
            <p:spPr>
              <a:xfrm>
                <a:off x="802674" y="1713223"/>
                <a:ext cx="1124860" cy="6463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3600" b="1"/>
                  <a:t>Q</a:t>
                </a:r>
                <a:r>
                  <a:rPr lang="en-US" sz="2000" b="1"/>
                  <a:t>uatity</a:t>
                </a:r>
                <a:endParaRPr lang="en-ID" sz="3600" b="1"/>
              </a:p>
            </p:txBody>
          </p:sp>
          <p:sp>
            <p:nvSpPr>
              <p:cNvPr id="36" name="Rectangle: Diagonal Corners Rounded 35">
                <a:extLst>
                  <a:ext uri="{FF2B5EF4-FFF2-40B4-BE49-F238E27FC236}">
                    <a16:creationId xmlns:a16="http://schemas.microsoft.com/office/drawing/2014/main" id="{FD904C45-B50F-702E-2A8A-A2E432CB40C9}"/>
                  </a:ext>
                </a:extLst>
              </p:cNvPr>
              <p:cNvSpPr/>
              <p:nvPr/>
            </p:nvSpPr>
            <p:spPr>
              <a:xfrm>
                <a:off x="2284265" y="1564297"/>
                <a:ext cx="8193589" cy="903971"/>
              </a:xfrm>
              <a:prstGeom prst="round2DiagRect">
                <a:avLst>
                  <a:gd name="adj1" fmla="val 50000"/>
                  <a:gd name="adj2" fmla="val 0"/>
                </a:avLst>
              </a:prstGeom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ID">
                    <a:latin typeface="Aptos Narrow" panose="020B0004020202020204" pitchFamily="34" charset="0"/>
                  </a:rPr>
                  <a:t>Data terdokumentasi dengan baik, akurat, dan mudah ditelusuri melalui fitur kelola versi/pencatatan histori serta monitoring real-time.</a:t>
                </a:r>
                <a:endParaRPr lang="en-US">
                  <a:solidFill>
                    <a:srgbClr val="000000"/>
                  </a:solidFill>
                  <a:latin typeface="Calibri" panose="020F0502020204030204" pitchFamily="34" charset="0"/>
                </a:endParaRPr>
              </a:p>
            </p:txBody>
          </p:sp>
        </p:grpSp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04F33D5F-8E72-4B57-82C2-69DB51B1AC85}"/>
                </a:ext>
              </a:extLst>
            </p:cNvPr>
            <p:cNvGrpSpPr/>
            <p:nvPr/>
          </p:nvGrpSpPr>
          <p:grpSpPr>
            <a:xfrm>
              <a:off x="803377" y="2666119"/>
              <a:ext cx="9674479" cy="903971"/>
              <a:chOff x="803377" y="2666119"/>
              <a:chExt cx="9674479" cy="903971"/>
            </a:xfrm>
          </p:grpSpPr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1A54357A-AD38-FC57-8D8E-3F1B02022A64}"/>
                  </a:ext>
                </a:extLst>
              </p:cNvPr>
              <p:cNvSpPr txBox="1"/>
              <p:nvPr/>
            </p:nvSpPr>
            <p:spPr>
              <a:xfrm>
                <a:off x="803377" y="2791539"/>
                <a:ext cx="754053" cy="6463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3600" b="1"/>
                  <a:t>C</a:t>
                </a:r>
                <a:r>
                  <a:rPr lang="en-US" sz="2000" b="1"/>
                  <a:t>ost</a:t>
                </a:r>
                <a:endParaRPr lang="en-ID" sz="3600" b="1"/>
              </a:p>
            </p:txBody>
          </p:sp>
          <p:sp>
            <p:nvSpPr>
              <p:cNvPr id="38" name="Rectangle: Diagonal Corners Rounded 37">
                <a:extLst>
                  <a:ext uri="{FF2B5EF4-FFF2-40B4-BE49-F238E27FC236}">
                    <a16:creationId xmlns:a16="http://schemas.microsoft.com/office/drawing/2014/main" id="{2503D780-E3EC-4DDE-3EA7-C14A2029643E}"/>
                  </a:ext>
                </a:extLst>
              </p:cNvPr>
              <p:cNvSpPr/>
              <p:nvPr/>
            </p:nvSpPr>
            <p:spPr>
              <a:xfrm>
                <a:off x="2284266" y="2666119"/>
                <a:ext cx="8193590" cy="903971"/>
              </a:xfrm>
              <a:prstGeom prst="round2DiagRect">
                <a:avLst>
                  <a:gd name="adj1" fmla="val 50000"/>
                  <a:gd name="adj2" fmla="val 0"/>
                </a:avLst>
              </a:prstGeom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just"/>
                <a:r>
                  <a:rPr lang="en-ID">
                    <a:latin typeface="Aptos Narrow" panose="020B0004020202020204" pitchFamily="34" charset="0"/>
                  </a:rPr>
                  <a:t>Efisiensi biaya operasional tercapai melalui penggunaan tenaga ahli daya, sehingga tidak perlu menggunakan jasa berbayar pihak ketiga.</a:t>
                </a:r>
                <a:endParaRPr lang="en-ID" dirty="0">
                  <a:latin typeface="Aptos Narrow" panose="020B0004020202020204" pitchFamily="34" charset="0"/>
                </a:endParaRPr>
              </a:p>
            </p:txBody>
          </p:sp>
        </p:grp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7BE3DD12-9075-2EE4-CC9F-B8F613B81FCF}"/>
                </a:ext>
              </a:extLst>
            </p:cNvPr>
            <p:cNvGrpSpPr/>
            <p:nvPr/>
          </p:nvGrpSpPr>
          <p:grpSpPr>
            <a:xfrm>
              <a:off x="802672" y="3759860"/>
              <a:ext cx="9791800" cy="903971"/>
              <a:chOff x="767632" y="3758748"/>
              <a:chExt cx="9791800" cy="903971"/>
            </a:xfrm>
          </p:grpSpPr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ED9291FF-02AD-0EC2-D2B6-34A622ABB853}"/>
                  </a:ext>
                </a:extLst>
              </p:cNvPr>
              <p:cNvSpPr txBox="1"/>
              <p:nvPr/>
            </p:nvSpPr>
            <p:spPr>
              <a:xfrm>
                <a:off x="767632" y="3887567"/>
                <a:ext cx="1194943" cy="6463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3600" b="1"/>
                  <a:t>D</a:t>
                </a:r>
                <a:r>
                  <a:rPr lang="en-US" sz="2000" b="1"/>
                  <a:t>elivery</a:t>
                </a:r>
                <a:endParaRPr lang="en-ID" sz="3600" b="1"/>
              </a:p>
            </p:txBody>
          </p:sp>
          <p:sp>
            <p:nvSpPr>
              <p:cNvPr id="39" name="Rectangle: Diagonal Corners Rounded 38">
                <a:extLst>
                  <a:ext uri="{FF2B5EF4-FFF2-40B4-BE49-F238E27FC236}">
                    <a16:creationId xmlns:a16="http://schemas.microsoft.com/office/drawing/2014/main" id="{55354C71-EC17-A808-47E7-7261665A775F}"/>
                  </a:ext>
                </a:extLst>
              </p:cNvPr>
              <p:cNvSpPr/>
              <p:nvPr/>
            </p:nvSpPr>
            <p:spPr>
              <a:xfrm>
                <a:off x="2249224" y="3758748"/>
                <a:ext cx="8310208" cy="903971"/>
              </a:xfrm>
              <a:prstGeom prst="round2DiagRect">
                <a:avLst>
                  <a:gd name="adj1" fmla="val 50000"/>
                  <a:gd name="adj2" fmla="val 0"/>
                </a:avLst>
              </a:prstGeom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just"/>
                <a:r>
                  <a:rPr lang="en-ID">
                    <a:latin typeface="Aptos Narrow" panose="020B0004020202020204" pitchFamily="34" charset="0"/>
                  </a:rPr>
                  <a:t>Proses pengolahan data (penambahan, pembaruan, penghapusan) dapat dilakukan lebih cepat dan terintegrasi sehingga meningkatkan kecepatan operasional kerja.</a:t>
                </a:r>
                <a:endParaRPr lang="en-ID" dirty="0">
                  <a:latin typeface="Aptos Narrow" panose="020B0004020202020204" pitchFamily="34" charset="0"/>
                </a:endParaRPr>
              </a:p>
            </p:txBody>
          </p:sp>
        </p:grp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27D0006C-1415-908F-6600-93EEB666C5E8}"/>
                </a:ext>
              </a:extLst>
            </p:cNvPr>
            <p:cNvGrpSpPr/>
            <p:nvPr/>
          </p:nvGrpSpPr>
          <p:grpSpPr>
            <a:xfrm>
              <a:off x="802672" y="4853601"/>
              <a:ext cx="9791800" cy="903971"/>
              <a:chOff x="802672" y="4853601"/>
              <a:chExt cx="9791800" cy="903971"/>
            </a:xfrm>
          </p:grpSpPr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A91D6F97-930D-4F18-FA05-C07BE64AD7D0}"/>
                  </a:ext>
                </a:extLst>
              </p:cNvPr>
              <p:cNvSpPr txBox="1"/>
              <p:nvPr/>
            </p:nvSpPr>
            <p:spPr>
              <a:xfrm>
                <a:off x="802672" y="4980196"/>
                <a:ext cx="943335" cy="6463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3600" b="1"/>
                  <a:t>S</a:t>
                </a:r>
                <a:r>
                  <a:rPr lang="en-US" sz="2000" b="1"/>
                  <a:t>afety</a:t>
                </a:r>
                <a:endParaRPr lang="en-ID" sz="3600" b="1"/>
              </a:p>
            </p:txBody>
          </p:sp>
          <p:sp>
            <p:nvSpPr>
              <p:cNvPr id="40" name="Rectangle: Diagonal Corners Rounded 39">
                <a:extLst>
                  <a:ext uri="{FF2B5EF4-FFF2-40B4-BE49-F238E27FC236}">
                    <a16:creationId xmlns:a16="http://schemas.microsoft.com/office/drawing/2014/main" id="{BE854877-A970-5D34-6B42-D11DF2A3CA6F}"/>
                  </a:ext>
                </a:extLst>
              </p:cNvPr>
              <p:cNvSpPr/>
              <p:nvPr/>
            </p:nvSpPr>
            <p:spPr>
              <a:xfrm>
                <a:off x="2284264" y="4853601"/>
                <a:ext cx="8310208" cy="903971"/>
              </a:xfrm>
              <a:prstGeom prst="round2DiagRect">
                <a:avLst>
                  <a:gd name="adj1" fmla="val 50000"/>
                  <a:gd name="adj2" fmla="val 0"/>
                </a:avLst>
              </a:prstGeom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just"/>
                <a:r>
                  <a:rPr lang="en-ID">
                    <a:latin typeface="Aptos Narrow" panose="020B0004020202020204" pitchFamily="34" charset="0"/>
                  </a:rPr>
                  <a:t>Kontrol akses memastikan hanya pihak berwenang yang dapat mengelola data, sehingga meningkatkan keamanan informasi.</a:t>
                </a:r>
                <a:endParaRPr lang="en-US" dirty="0">
                  <a:solidFill>
                    <a:srgbClr val="000000"/>
                  </a:solidFill>
                  <a:latin typeface="Calibri" panose="020F0502020204030204" pitchFamily="34" charset="0"/>
                </a:endParaRPr>
              </a:p>
            </p:txBody>
          </p: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B82C8101-31D8-D051-83E9-6107BF6E91E7}"/>
                </a:ext>
              </a:extLst>
            </p:cNvPr>
            <p:cNvGrpSpPr/>
            <p:nvPr/>
          </p:nvGrpSpPr>
          <p:grpSpPr>
            <a:xfrm>
              <a:off x="796327" y="5893331"/>
              <a:ext cx="9798145" cy="903971"/>
              <a:chOff x="796327" y="5893331"/>
              <a:chExt cx="9798145" cy="903971"/>
            </a:xfrm>
          </p:grpSpPr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AE136A37-AB4A-A546-1837-153087CA8ED4}"/>
                  </a:ext>
                </a:extLst>
              </p:cNvPr>
              <p:cNvSpPr txBox="1"/>
              <p:nvPr/>
            </p:nvSpPr>
            <p:spPr>
              <a:xfrm>
                <a:off x="796327" y="6022152"/>
                <a:ext cx="1131207" cy="6463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3600" b="1"/>
                  <a:t>M</a:t>
                </a:r>
                <a:r>
                  <a:rPr lang="en-US" sz="2000" b="1"/>
                  <a:t>orale</a:t>
                </a:r>
                <a:endParaRPr lang="en-ID" sz="3600" b="1"/>
              </a:p>
            </p:txBody>
          </p:sp>
          <p:sp>
            <p:nvSpPr>
              <p:cNvPr id="43" name="Rectangle: Diagonal Corners Rounded 42">
                <a:extLst>
                  <a:ext uri="{FF2B5EF4-FFF2-40B4-BE49-F238E27FC236}">
                    <a16:creationId xmlns:a16="http://schemas.microsoft.com/office/drawing/2014/main" id="{09014AF3-66F1-CFE4-5CA5-7338146B9D61}"/>
                  </a:ext>
                </a:extLst>
              </p:cNvPr>
              <p:cNvSpPr/>
              <p:nvPr/>
            </p:nvSpPr>
            <p:spPr>
              <a:xfrm>
                <a:off x="2284264" y="5893331"/>
                <a:ext cx="8310208" cy="903971"/>
              </a:xfrm>
              <a:prstGeom prst="round2DiagRect">
                <a:avLst>
                  <a:gd name="adj1" fmla="val 50000"/>
                  <a:gd name="adj2" fmla="val 0"/>
                </a:avLst>
              </a:prstGeom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just"/>
                <a:r>
                  <a:rPr lang="en-ID">
                    <a:latin typeface="Aptos Narrow" panose="020B0004020202020204" pitchFamily="34" charset="0"/>
                  </a:rPr>
                  <a:t>Sistem kerja yang lebih efisien dan transparan meningkatkan kepuasan serta motivasi pengguna dalam menjalankan fungsi maintenance.</a:t>
                </a:r>
                <a:endParaRPr lang="en-ID" dirty="0">
                  <a:latin typeface="Aptos Narrow" panose="020B0004020202020204" pitchFamily="34" charset="0"/>
                </a:endParaRPr>
              </a:p>
            </p:txBody>
          </p:sp>
        </p:grpSp>
      </p:grpSp>
      <p:pic>
        <p:nvPicPr>
          <p:cNvPr id="3" name="Picture 2" descr="A black screen with white text&#10;&#10;Description automatically generated">
            <a:extLst>
              <a:ext uri="{FF2B5EF4-FFF2-40B4-BE49-F238E27FC236}">
                <a16:creationId xmlns:a16="http://schemas.microsoft.com/office/drawing/2014/main" id="{A884499E-38AE-E01C-91B6-E56F60E46BD7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726" t="87519"/>
          <a:stretch/>
        </p:blipFill>
        <p:spPr>
          <a:xfrm>
            <a:off x="11584425" y="6477417"/>
            <a:ext cx="607574" cy="378163"/>
          </a:xfrm>
          <a:prstGeom prst="rect">
            <a:avLst/>
          </a:prstGeom>
        </p:spPr>
      </p:pic>
      <p:pic>
        <p:nvPicPr>
          <p:cNvPr id="4" name="Picture 3" descr="A black screen with white text&#10;&#10;Description automatically generated">
            <a:extLst>
              <a:ext uri="{FF2B5EF4-FFF2-40B4-BE49-F238E27FC236}">
                <a16:creationId xmlns:a16="http://schemas.microsoft.com/office/drawing/2014/main" id="{2B28DD4B-492E-316F-A2D3-8CB9B1BEBEA9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311" r="78841"/>
          <a:stretch/>
        </p:blipFill>
        <p:spPr>
          <a:xfrm>
            <a:off x="0" y="6478090"/>
            <a:ext cx="1425463" cy="388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333885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7A808D1-C5B6-8D4D-1B91-D6AB2886FDB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D7356BC6-1022-BFBE-CC3A-EE61F9A400EF}"/>
              </a:ext>
            </a:extLst>
          </p:cNvPr>
          <p:cNvGrpSpPr/>
          <p:nvPr/>
        </p:nvGrpSpPr>
        <p:grpSpPr>
          <a:xfrm>
            <a:off x="-5884" y="-15914"/>
            <a:ext cx="12197884" cy="6858000"/>
            <a:chOff x="0" y="0"/>
            <a:chExt cx="12197884" cy="6858000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36E8B4F5-5CF7-04F6-8E4D-0A2B8CCDBED5}"/>
                </a:ext>
              </a:extLst>
            </p:cNvPr>
            <p:cNvSpPr/>
            <p:nvPr/>
          </p:nvSpPr>
          <p:spPr>
            <a:xfrm>
              <a:off x="0" y="0"/>
              <a:ext cx="12197884" cy="6858000"/>
            </a:xfrm>
            <a:prstGeom prst="rect">
              <a:avLst/>
            </a:prstGeom>
            <a:gradFill>
              <a:gsLst>
                <a:gs pos="0">
                  <a:schemeClr val="accent1">
                    <a:lumMod val="5000"/>
                    <a:lumOff val="95000"/>
                    <a:alpha val="0"/>
                  </a:schemeClr>
                </a:gs>
                <a:gs pos="97000">
                  <a:srgbClr val="A6E1BD">
                    <a:alpha val="42115"/>
                  </a:srgbClr>
                </a:gs>
              </a:gsLst>
              <a:lin ang="4200000" scaled="0"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cs typeface="Futura Medium" panose="020B0602020204020303"/>
              </a:endParaRPr>
            </a:p>
          </p:txBody>
        </p:sp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474720D8-CEF6-036B-D3FE-7580F0A6A5F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0"/>
              <a:ext cx="12192000" cy="6858000"/>
            </a:xfrm>
            <a:prstGeom prst="rect">
              <a:avLst/>
            </a:prstGeom>
          </p:spPr>
        </p:pic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A8B7EB6B-F7C0-4EE2-5DAD-E4DAF23D6A59}"/>
              </a:ext>
            </a:extLst>
          </p:cNvPr>
          <p:cNvSpPr txBox="1"/>
          <p:nvPr/>
        </p:nvSpPr>
        <p:spPr>
          <a:xfrm>
            <a:off x="594198" y="3850223"/>
            <a:ext cx="10482511" cy="56188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sz="2800" b="1">
                <a:solidFill>
                  <a:srgbClr val="0C345B"/>
                </a:solidFill>
                <a:latin typeface="Futura Medium" panose="020B0602020204020303" pitchFamily="34" charset="-79"/>
                <a:cs typeface="FUTURA MEDIUM" panose="020B0602020204020303" pitchFamily="34" charset="-79"/>
              </a:rPr>
              <a:t>Sustainability (ESG) Aspek</a:t>
            </a:r>
            <a:endParaRPr lang="en-US" sz="2800" dirty="0">
              <a:solidFill>
                <a:srgbClr val="0C345B"/>
              </a:solidFill>
              <a:latin typeface="Futura Medium" panose="020B0602020204020303" pitchFamily="34" charset="-79"/>
              <a:cs typeface="Futura Medium" panose="020B0602020204020303" pitchFamily="34" charset="-79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2E37346D-27DE-4396-BF14-107BF1215741}"/>
              </a:ext>
            </a:extLst>
          </p:cNvPr>
          <p:cNvGrpSpPr/>
          <p:nvPr/>
        </p:nvGrpSpPr>
        <p:grpSpPr>
          <a:xfrm>
            <a:off x="0" y="-6002"/>
            <a:ext cx="1439008" cy="463236"/>
            <a:chOff x="93023" y="-6002"/>
            <a:chExt cx="1439008" cy="463236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9E3EB124-1E10-785B-182E-975D4A5B9262}"/>
                </a:ext>
              </a:extLst>
            </p:cNvPr>
            <p:cNvGrpSpPr/>
            <p:nvPr/>
          </p:nvGrpSpPr>
          <p:grpSpPr>
            <a:xfrm>
              <a:off x="93023" y="-6002"/>
              <a:ext cx="1439008" cy="463236"/>
              <a:chOff x="6171866" y="126174"/>
              <a:chExt cx="1126238" cy="369332"/>
            </a:xfrm>
          </p:grpSpPr>
          <p:pic>
            <p:nvPicPr>
              <p:cNvPr id="19" name="Picture 18">
                <a:extLst>
                  <a:ext uri="{FF2B5EF4-FFF2-40B4-BE49-F238E27FC236}">
                    <a16:creationId xmlns:a16="http://schemas.microsoft.com/office/drawing/2014/main" id="{D2C19D84-5BFE-EB10-435D-46813C9B4265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74148" b="84200"/>
              <a:stretch/>
            </p:blipFill>
            <p:spPr>
              <a:xfrm flipH="1">
                <a:off x="6171866" y="126174"/>
                <a:ext cx="1126238" cy="369332"/>
              </a:xfrm>
              <a:prstGeom prst="rect">
                <a:avLst/>
              </a:prstGeom>
              <a:effectLst>
                <a:outerShdw blurRad="50800" dist="38100" dir="8100000" algn="tr" rotWithShape="0">
                  <a:prstClr val="black">
                    <a:alpha val="40000"/>
                  </a:prstClr>
                </a:outerShdw>
              </a:effectLst>
            </p:spPr>
          </p:pic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9AB12D07-B0D9-7730-1CC7-2199F3E479B3}"/>
                  </a:ext>
                </a:extLst>
              </p:cNvPr>
              <p:cNvSpPr/>
              <p:nvPr/>
            </p:nvSpPr>
            <p:spPr>
              <a:xfrm>
                <a:off x="6271117" y="143647"/>
                <a:ext cx="771525" cy="23857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/>
              </a:p>
            </p:txBody>
          </p:sp>
        </p:grpSp>
        <p:pic>
          <p:nvPicPr>
            <p:cNvPr id="18" name="Picture 17" descr="A black background with a black square&#10;&#10;AI-generated content may be incorrect.">
              <a:extLst>
                <a:ext uri="{FF2B5EF4-FFF2-40B4-BE49-F238E27FC236}">
                  <a16:creationId xmlns:a16="http://schemas.microsoft.com/office/drawing/2014/main" id="{986D86C3-C283-763D-DD2E-BE5C0A2D0C1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9837" y="48823"/>
              <a:ext cx="934769" cy="233412"/>
            </a:xfrm>
            <a:prstGeom prst="rect">
              <a:avLst/>
            </a:prstGeom>
          </p:spPr>
        </p:pic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6A011BA0-8AC2-84C4-BFE3-9895D3019110}"/>
              </a:ext>
            </a:extLst>
          </p:cNvPr>
          <p:cNvGrpSpPr/>
          <p:nvPr/>
        </p:nvGrpSpPr>
        <p:grpSpPr>
          <a:xfrm>
            <a:off x="719503" y="4657927"/>
            <a:ext cx="10160347" cy="1979576"/>
            <a:chOff x="802674" y="1608649"/>
            <a:chExt cx="10160347" cy="1979576"/>
          </a:xfrm>
        </p:grpSpPr>
        <p:grpSp>
          <p:nvGrpSpPr>
            <p:cNvPr id="46" name="Group 45">
              <a:extLst>
                <a:ext uri="{FF2B5EF4-FFF2-40B4-BE49-F238E27FC236}">
                  <a16:creationId xmlns:a16="http://schemas.microsoft.com/office/drawing/2014/main" id="{D4F06BF6-6985-F50D-92D4-53C3F39D8394}"/>
                </a:ext>
              </a:extLst>
            </p:cNvPr>
            <p:cNvGrpSpPr/>
            <p:nvPr/>
          </p:nvGrpSpPr>
          <p:grpSpPr>
            <a:xfrm>
              <a:off x="802674" y="1608649"/>
              <a:ext cx="10160346" cy="903971"/>
              <a:chOff x="802674" y="1608649"/>
              <a:chExt cx="10160346" cy="903971"/>
            </a:xfrm>
          </p:grpSpPr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A8E0CC2F-2FA6-16CE-32E5-7F6718419B97}"/>
                  </a:ext>
                </a:extLst>
              </p:cNvPr>
              <p:cNvSpPr txBox="1"/>
              <p:nvPr/>
            </p:nvSpPr>
            <p:spPr>
              <a:xfrm>
                <a:off x="802674" y="1713223"/>
                <a:ext cx="1840119" cy="6463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3600" b="1"/>
                  <a:t>E</a:t>
                </a:r>
                <a:r>
                  <a:rPr lang="en-US" sz="2000" b="1"/>
                  <a:t>nvironmental</a:t>
                </a:r>
                <a:endParaRPr lang="en-ID" sz="3600" b="1"/>
              </a:p>
            </p:txBody>
          </p:sp>
          <p:sp>
            <p:nvSpPr>
              <p:cNvPr id="36" name="Rectangle: Diagonal Corners Rounded 35">
                <a:extLst>
                  <a:ext uri="{FF2B5EF4-FFF2-40B4-BE49-F238E27FC236}">
                    <a16:creationId xmlns:a16="http://schemas.microsoft.com/office/drawing/2014/main" id="{E78CDD24-B34D-6237-2290-B2F860B21FE1}"/>
                  </a:ext>
                </a:extLst>
              </p:cNvPr>
              <p:cNvSpPr/>
              <p:nvPr/>
            </p:nvSpPr>
            <p:spPr>
              <a:xfrm>
                <a:off x="2769431" y="1608649"/>
                <a:ext cx="8193589" cy="903971"/>
              </a:xfrm>
              <a:prstGeom prst="round2DiagRect">
                <a:avLst>
                  <a:gd name="adj1" fmla="val 50000"/>
                  <a:gd name="adj2" fmla="val 0"/>
                </a:avLst>
              </a:prstGeom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lvl="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ID">
                    <a:latin typeface="Aptos Narrow" panose="020B0004020202020204" pitchFamily="34" charset="0"/>
                  </a:rPr>
                  <a:t>Efisiensi sumber daya dicapai dengan menyatukan pengelolaan data ke dalam satu sistem terintegrasi, sehingga lebih optimal dan ramah lingkungan.</a:t>
                </a:r>
                <a:endParaRPr lang="en-ID" dirty="0">
                  <a:latin typeface="Aptos Narrow" panose="020B0004020202020204" pitchFamily="34" charset="0"/>
                </a:endParaRPr>
              </a:p>
            </p:txBody>
          </p:sp>
        </p:grpSp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3474D580-D915-4192-A7AA-93EE3DC3C1B5}"/>
                </a:ext>
              </a:extLst>
            </p:cNvPr>
            <p:cNvGrpSpPr/>
            <p:nvPr/>
          </p:nvGrpSpPr>
          <p:grpSpPr>
            <a:xfrm>
              <a:off x="803377" y="2684254"/>
              <a:ext cx="10159644" cy="903971"/>
              <a:chOff x="803377" y="2684254"/>
              <a:chExt cx="10159644" cy="903971"/>
            </a:xfrm>
          </p:grpSpPr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C7867278-4199-C5DC-CC1D-23823B8DE623}"/>
                  </a:ext>
                </a:extLst>
              </p:cNvPr>
              <p:cNvSpPr txBox="1"/>
              <p:nvPr/>
            </p:nvSpPr>
            <p:spPr>
              <a:xfrm>
                <a:off x="803377" y="2791539"/>
                <a:ext cx="1596976" cy="6463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3600" b="1"/>
                  <a:t>G</a:t>
                </a:r>
                <a:r>
                  <a:rPr lang="en-US" sz="2000" b="1"/>
                  <a:t>overnance</a:t>
                </a:r>
                <a:endParaRPr lang="en-ID" sz="3600" b="1"/>
              </a:p>
            </p:txBody>
          </p:sp>
          <p:sp>
            <p:nvSpPr>
              <p:cNvPr id="38" name="Rectangle: Diagonal Corners Rounded 37">
                <a:extLst>
                  <a:ext uri="{FF2B5EF4-FFF2-40B4-BE49-F238E27FC236}">
                    <a16:creationId xmlns:a16="http://schemas.microsoft.com/office/drawing/2014/main" id="{30709CC3-DB20-1E08-109E-D78378D341F9}"/>
                  </a:ext>
                </a:extLst>
              </p:cNvPr>
              <p:cNvSpPr/>
              <p:nvPr/>
            </p:nvSpPr>
            <p:spPr>
              <a:xfrm>
                <a:off x="2769431" y="2684254"/>
                <a:ext cx="8193590" cy="903971"/>
              </a:xfrm>
              <a:prstGeom prst="round2DiagRect">
                <a:avLst>
                  <a:gd name="adj1" fmla="val 50000"/>
                  <a:gd name="adj2" fmla="val 0"/>
                </a:avLst>
              </a:prstGeom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just"/>
                <a:r>
                  <a:rPr lang="en-US" altLang="en-US">
                    <a:latin typeface="Aptos Narrow" panose="020B0004020202020204" pitchFamily="34" charset="0"/>
                  </a:rPr>
                  <a:t>Penerapan kontrol akses, pencatatan histori, serta sistem database terintegrasi yang meningkatkan akuntabilitas, keamanan, dan kepatuhan terhadap standar tata kelola data.</a:t>
                </a:r>
                <a:endParaRPr lang="en-ID" dirty="0">
                  <a:latin typeface="Aptos Narrow" panose="020B0004020202020204" pitchFamily="34" charset="0"/>
                </a:endParaRPr>
              </a:p>
            </p:txBody>
          </p:sp>
        </p:grp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D590D8A3-C1A3-7E81-1C41-51458B5B8E3F}"/>
              </a:ext>
            </a:extLst>
          </p:cNvPr>
          <p:cNvGrpSpPr/>
          <p:nvPr/>
        </p:nvGrpSpPr>
        <p:grpSpPr>
          <a:xfrm>
            <a:off x="719503" y="648994"/>
            <a:ext cx="9629841" cy="1646913"/>
            <a:chOff x="719504" y="870314"/>
            <a:chExt cx="9629841" cy="1646913"/>
          </a:xfrm>
        </p:grpSpPr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58F87F91-A37A-09E7-F174-C3512C01D477}"/>
                </a:ext>
              </a:extLst>
            </p:cNvPr>
            <p:cNvSpPr txBox="1"/>
            <p:nvPr/>
          </p:nvSpPr>
          <p:spPr>
            <a:xfrm>
              <a:off x="719504" y="870314"/>
              <a:ext cx="9629841" cy="394210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n-US" b="1">
                  <a:solidFill>
                    <a:srgbClr val="0C345B"/>
                  </a:solidFill>
                  <a:latin typeface="Futura Medium" panose="020B0602020204020303" pitchFamily="34" charset="-79"/>
                  <a:cs typeface="FUTURA MEDIUM" panose="020B0602020204020303" pitchFamily="34" charset="-79"/>
                </a:rPr>
                <a:t>Solusi / Perubahan yang Dilakukan Merupakan</a:t>
              </a:r>
              <a:endParaRPr lang="en-US" dirty="0">
                <a:solidFill>
                  <a:srgbClr val="0C345B"/>
                </a:solidFill>
                <a:latin typeface="Futura Medium" panose="020B0602020204020303" pitchFamily="34" charset="-79"/>
                <a:cs typeface="Futura Medium" panose="020B0602020204020303" pitchFamily="34" charset="-79"/>
              </a:endParaRPr>
            </a:p>
          </p:txBody>
        </p:sp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1EECABD0-47DE-8BB6-7EED-E7BC01DA7E57}"/>
                </a:ext>
              </a:extLst>
            </p:cNvPr>
            <p:cNvGrpSpPr/>
            <p:nvPr/>
          </p:nvGrpSpPr>
          <p:grpSpPr>
            <a:xfrm>
              <a:off x="811044" y="1338283"/>
              <a:ext cx="1750426" cy="1178944"/>
              <a:chOff x="811044" y="1338283"/>
              <a:chExt cx="1750426" cy="1178944"/>
            </a:xfrm>
          </p:grpSpPr>
          <p:grpSp>
            <p:nvGrpSpPr>
              <p:cNvPr id="44" name="Group 43">
                <a:extLst>
                  <a:ext uri="{FF2B5EF4-FFF2-40B4-BE49-F238E27FC236}">
                    <a16:creationId xmlns:a16="http://schemas.microsoft.com/office/drawing/2014/main" id="{BEE5CF69-1FE7-66B3-F44D-95C8CB956EC3}"/>
                  </a:ext>
                </a:extLst>
              </p:cNvPr>
              <p:cNvGrpSpPr/>
              <p:nvPr/>
            </p:nvGrpSpPr>
            <p:grpSpPr>
              <a:xfrm>
                <a:off x="811044" y="1338283"/>
                <a:ext cx="1369424" cy="369332"/>
                <a:chOff x="811044" y="1338283"/>
                <a:chExt cx="1369424" cy="369332"/>
              </a:xfrm>
            </p:grpSpPr>
            <p:sp>
              <p:nvSpPr>
                <p:cNvPr id="25" name="TextBox 24">
                  <a:extLst>
                    <a:ext uri="{FF2B5EF4-FFF2-40B4-BE49-F238E27FC236}">
                      <a16:creationId xmlns:a16="http://schemas.microsoft.com/office/drawing/2014/main" id="{8ED6D375-1EB3-CE72-65F7-0647351A9313}"/>
                    </a:ext>
                  </a:extLst>
                </p:cNvPr>
                <p:cNvSpPr txBox="1"/>
                <p:nvPr/>
              </p:nvSpPr>
              <p:spPr>
                <a:xfrm>
                  <a:off x="1109534" y="1338283"/>
                  <a:ext cx="1070934" cy="369332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n-US"/>
                    <a:t>Invention</a:t>
                  </a:r>
                </a:p>
              </p:txBody>
            </p:sp>
            <p:sp>
              <p:nvSpPr>
                <p:cNvPr id="34" name="Rectangle 33">
                  <a:extLst>
                    <a:ext uri="{FF2B5EF4-FFF2-40B4-BE49-F238E27FC236}">
                      <a16:creationId xmlns:a16="http://schemas.microsoft.com/office/drawing/2014/main" id="{C6B19CE3-DF8B-203A-3BA2-955408FB9442}"/>
                    </a:ext>
                  </a:extLst>
                </p:cNvPr>
                <p:cNvSpPr/>
                <p:nvPr/>
              </p:nvSpPr>
              <p:spPr>
                <a:xfrm>
                  <a:off x="811044" y="1393100"/>
                  <a:ext cx="259698" cy="259698"/>
                </a:xfrm>
                <a:prstGeom prst="rect">
                  <a:avLst/>
                </a:prstGeom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/>
                    <a:t>v</a:t>
                  </a:r>
                  <a:endParaRPr lang="en-ID"/>
                </a:p>
              </p:txBody>
            </p:sp>
          </p:grpSp>
          <p:grpSp>
            <p:nvGrpSpPr>
              <p:cNvPr id="45" name="Group 44">
                <a:extLst>
                  <a:ext uri="{FF2B5EF4-FFF2-40B4-BE49-F238E27FC236}">
                    <a16:creationId xmlns:a16="http://schemas.microsoft.com/office/drawing/2014/main" id="{56FE1C5D-B0E7-5854-F528-33EA2D4C75E2}"/>
                  </a:ext>
                </a:extLst>
              </p:cNvPr>
              <p:cNvGrpSpPr/>
              <p:nvPr/>
            </p:nvGrpSpPr>
            <p:grpSpPr>
              <a:xfrm>
                <a:off x="811044" y="2147895"/>
                <a:ext cx="1453806" cy="369332"/>
                <a:chOff x="811044" y="1338283"/>
                <a:chExt cx="1453806" cy="369332"/>
              </a:xfrm>
            </p:grpSpPr>
            <p:sp>
              <p:nvSpPr>
                <p:cNvPr id="47" name="TextBox 46">
                  <a:extLst>
                    <a:ext uri="{FF2B5EF4-FFF2-40B4-BE49-F238E27FC236}">
                      <a16:creationId xmlns:a16="http://schemas.microsoft.com/office/drawing/2014/main" id="{28E0022E-95BA-4B7D-4489-9CF06924C07B}"/>
                    </a:ext>
                  </a:extLst>
                </p:cNvPr>
                <p:cNvSpPr txBox="1"/>
                <p:nvPr/>
              </p:nvSpPr>
              <p:spPr>
                <a:xfrm>
                  <a:off x="1109534" y="1338283"/>
                  <a:ext cx="1155316" cy="369332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n-US"/>
                    <a:t>Modifikasi</a:t>
                  </a:r>
                </a:p>
              </p:txBody>
            </p:sp>
            <p:sp>
              <p:nvSpPr>
                <p:cNvPr id="48" name="Rectangle 47">
                  <a:extLst>
                    <a:ext uri="{FF2B5EF4-FFF2-40B4-BE49-F238E27FC236}">
                      <a16:creationId xmlns:a16="http://schemas.microsoft.com/office/drawing/2014/main" id="{F7EFD800-F713-959A-44D4-48CC10DFF1FE}"/>
                    </a:ext>
                  </a:extLst>
                </p:cNvPr>
                <p:cNvSpPr/>
                <p:nvPr/>
              </p:nvSpPr>
              <p:spPr>
                <a:xfrm>
                  <a:off x="811044" y="1393100"/>
                  <a:ext cx="259698" cy="259698"/>
                </a:xfrm>
                <a:prstGeom prst="rect">
                  <a:avLst/>
                </a:prstGeom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/>
                    <a:t>x</a:t>
                  </a:r>
                  <a:endParaRPr lang="en-ID"/>
                </a:p>
              </p:txBody>
            </p:sp>
          </p:grpSp>
          <p:grpSp>
            <p:nvGrpSpPr>
              <p:cNvPr id="49" name="Group 48">
                <a:extLst>
                  <a:ext uri="{FF2B5EF4-FFF2-40B4-BE49-F238E27FC236}">
                    <a16:creationId xmlns:a16="http://schemas.microsoft.com/office/drawing/2014/main" id="{D80AF511-2982-6BB7-6364-545532E730CF}"/>
                  </a:ext>
                </a:extLst>
              </p:cNvPr>
              <p:cNvGrpSpPr/>
              <p:nvPr/>
            </p:nvGrpSpPr>
            <p:grpSpPr>
              <a:xfrm>
                <a:off x="811044" y="1747237"/>
                <a:ext cx="1750426" cy="369332"/>
                <a:chOff x="811044" y="1338283"/>
                <a:chExt cx="1750426" cy="369332"/>
              </a:xfrm>
            </p:grpSpPr>
            <p:sp>
              <p:nvSpPr>
                <p:cNvPr id="50" name="TextBox 49">
                  <a:extLst>
                    <a:ext uri="{FF2B5EF4-FFF2-40B4-BE49-F238E27FC236}">
                      <a16:creationId xmlns:a16="http://schemas.microsoft.com/office/drawing/2014/main" id="{33B921E0-422D-0D52-2726-2A814C624884}"/>
                    </a:ext>
                  </a:extLst>
                </p:cNvPr>
                <p:cNvSpPr txBox="1"/>
                <p:nvPr/>
              </p:nvSpPr>
              <p:spPr>
                <a:xfrm>
                  <a:off x="1109534" y="1338283"/>
                  <a:ext cx="1451936" cy="369332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n-US" dirty="0"/>
                    <a:t>Development</a:t>
                  </a:r>
                </a:p>
              </p:txBody>
            </p:sp>
            <p:sp>
              <p:nvSpPr>
                <p:cNvPr id="56" name="Rectangle 55">
                  <a:extLst>
                    <a:ext uri="{FF2B5EF4-FFF2-40B4-BE49-F238E27FC236}">
                      <a16:creationId xmlns:a16="http://schemas.microsoft.com/office/drawing/2014/main" id="{6CDD9DF9-C5A0-FED6-460A-E565ED5C8A81}"/>
                    </a:ext>
                  </a:extLst>
                </p:cNvPr>
                <p:cNvSpPr/>
                <p:nvPr/>
              </p:nvSpPr>
              <p:spPr>
                <a:xfrm>
                  <a:off x="811044" y="1393100"/>
                  <a:ext cx="259698" cy="259698"/>
                </a:xfrm>
                <a:prstGeom prst="rect">
                  <a:avLst/>
                </a:prstGeom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/>
                    <a:t>v</a:t>
                  </a:r>
                  <a:endParaRPr lang="en-ID"/>
                </a:p>
              </p:txBody>
            </p:sp>
          </p:grpSp>
        </p:grpSp>
      </p:grpSp>
      <p:grpSp>
        <p:nvGrpSpPr>
          <p:cNvPr id="87" name="Group 86">
            <a:extLst>
              <a:ext uri="{FF2B5EF4-FFF2-40B4-BE49-F238E27FC236}">
                <a16:creationId xmlns:a16="http://schemas.microsoft.com/office/drawing/2014/main" id="{FF498476-C753-FC1A-D562-93E63DC6F4E8}"/>
              </a:ext>
            </a:extLst>
          </p:cNvPr>
          <p:cNvGrpSpPr/>
          <p:nvPr/>
        </p:nvGrpSpPr>
        <p:grpSpPr>
          <a:xfrm>
            <a:off x="6267546" y="659567"/>
            <a:ext cx="9629841" cy="2002151"/>
            <a:chOff x="6267546" y="659567"/>
            <a:chExt cx="9629841" cy="2002151"/>
          </a:xfrm>
        </p:grpSpPr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3CFEAE03-DB2E-A52D-DE38-44DB78C85F55}"/>
                </a:ext>
              </a:extLst>
            </p:cNvPr>
            <p:cNvGrpSpPr/>
            <p:nvPr/>
          </p:nvGrpSpPr>
          <p:grpSpPr>
            <a:xfrm>
              <a:off x="6267546" y="659567"/>
              <a:ext cx="9629841" cy="1650184"/>
              <a:chOff x="719504" y="867043"/>
              <a:chExt cx="9629841" cy="1650184"/>
            </a:xfrm>
          </p:grpSpPr>
          <p:sp>
            <p:nvSpPr>
              <p:cNvPr id="72" name="TextBox 71">
                <a:extLst>
                  <a:ext uri="{FF2B5EF4-FFF2-40B4-BE49-F238E27FC236}">
                    <a16:creationId xmlns:a16="http://schemas.microsoft.com/office/drawing/2014/main" id="{79F37933-1922-04A0-85B5-2A50E6936F42}"/>
                  </a:ext>
                </a:extLst>
              </p:cNvPr>
              <p:cNvSpPr txBox="1"/>
              <p:nvPr/>
            </p:nvSpPr>
            <p:spPr>
              <a:xfrm>
                <a:off x="719504" y="867043"/>
                <a:ext cx="9629841" cy="400751"/>
              </a:xfrm>
              <a:prstGeom prst="rect">
                <a:avLst/>
              </a:prstGeom>
              <a:noFill/>
            </p:spPr>
            <p:txBody>
              <a:bodyPr wrap="square" anchor="ctr">
                <a:spAutoFit/>
              </a:bodyPr>
              <a:lstStyle/>
              <a:p>
                <a:pPr>
                  <a:lnSpc>
                    <a:spcPct val="120000"/>
                  </a:lnSpc>
                </a:pPr>
                <a:r>
                  <a:rPr lang="en-US" b="1">
                    <a:solidFill>
                      <a:srgbClr val="0C345B"/>
                    </a:solidFill>
                    <a:latin typeface="Futura Medium" panose="020B0602020204020303" pitchFamily="34" charset="-79"/>
                    <a:cs typeface="FUTURA MEDIUM" panose="020B0602020204020303" pitchFamily="34" charset="-79"/>
                  </a:rPr>
                  <a:t>Solusi / Perubahan Yang Dihasilkan Dalam Bentuk</a:t>
                </a:r>
                <a:endParaRPr lang="en-US" dirty="0">
                  <a:solidFill>
                    <a:srgbClr val="0C345B"/>
                  </a:solidFill>
                  <a:latin typeface="Futura Medium" panose="020B0602020204020303" pitchFamily="34" charset="-79"/>
                  <a:cs typeface="Futura Medium" panose="020B0602020204020303" pitchFamily="34" charset="-79"/>
                </a:endParaRPr>
              </a:p>
            </p:txBody>
          </p:sp>
          <p:grpSp>
            <p:nvGrpSpPr>
              <p:cNvPr id="73" name="Group 72">
                <a:extLst>
                  <a:ext uri="{FF2B5EF4-FFF2-40B4-BE49-F238E27FC236}">
                    <a16:creationId xmlns:a16="http://schemas.microsoft.com/office/drawing/2014/main" id="{90087694-9A8C-FB28-E643-FD6C6D94E3FA}"/>
                  </a:ext>
                </a:extLst>
              </p:cNvPr>
              <p:cNvGrpSpPr/>
              <p:nvPr/>
            </p:nvGrpSpPr>
            <p:grpSpPr>
              <a:xfrm>
                <a:off x="811044" y="1338283"/>
                <a:ext cx="1228296" cy="1178944"/>
                <a:chOff x="811044" y="1338283"/>
                <a:chExt cx="1228296" cy="1178944"/>
              </a:xfrm>
            </p:grpSpPr>
            <p:grpSp>
              <p:nvGrpSpPr>
                <p:cNvPr id="74" name="Group 73">
                  <a:extLst>
                    <a:ext uri="{FF2B5EF4-FFF2-40B4-BE49-F238E27FC236}">
                      <a16:creationId xmlns:a16="http://schemas.microsoft.com/office/drawing/2014/main" id="{9940F7C0-2EE8-B7C3-3736-B5A082A47310}"/>
                    </a:ext>
                  </a:extLst>
                </p:cNvPr>
                <p:cNvGrpSpPr/>
                <p:nvPr/>
              </p:nvGrpSpPr>
              <p:grpSpPr>
                <a:xfrm>
                  <a:off x="811044" y="1338283"/>
                  <a:ext cx="854540" cy="369332"/>
                  <a:chOff x="811044" y="1338283"/>
                  <a:chExt cx="854540" cy="369332"/>
                </a:xfrm>
              </p:grpSpPr>
              <p:sp>
                <p:nvSpPr>
                  <p:cNvPr id="81" name="TextBox 80">
                    <a:extLst>
                      <a:ext uri="{FF2B5EF4-FFF2-40B4-BE49-F238E27FC236}">
                        <a16:creationId xmlns:a16="http://schemas.microsoft.com/office/drawing/2014/main" id="{E4F880CF-887D-C3A4-BBA9-68EBA55C089E}"/>
                      </a:ext>
                    </a:extLst>
                  </p:cNvPr>
                  <p:cNvSpPr txBox="1"/>
                  <p:nvPr/>
                </p:nvSpPr>
                <p:spPr>
                  <a:xfrm>
                    <a:off x="1109534" y="1338283"/>
                    <a:ext cx="556050" cy="369332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r>
                      <a:rPr lang="en-US"/>
                      <a:t>Alat</a:t>
                    </a:r>
                  </a:p>
                </p:txBody>
              </p:sp>
              <p:sp>
                <p:nvSpPr>
                  <p:cNvPr id="82" name="Rectangle 81">
                    <a:extLst>
                      <a:ext uri="{FF2B5EF4-FFF2-40B4-BE49-F238E27FC236}">
                        <a16:creationId xmlns:a16="http://schemas.microsoft.com/office/drawing/2014/main" id="{7F5D6AFD-A899-F9B9-2EA8-C091C7954702}"/>
                      </a:ext>
                    </a:extLst>
                  </p:cNvPr>
                  <p:cNvSpPr/>
                  <p:nvPr/>
                </p:nvSpPr>
                <p:spPr>
                  <a:xfrm>
                    <a:off x="811044" y="1393100"/>
                    <a:ext cx="259698" cy="259698"/>
                  </a:xfrm>
                  <a:prstGeom prst="rect">
                    <a:avLst/>
                  </a:prstGeom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en-US"/>
                      <a:t>v</a:t>
                    </a:r>
                    <a:endParaRPr lang="en-ID"/>
                  </a:p>
                </p:txBody>
              </p:sp>
            </p:grpSp>
            <p:grpSp>
              <p:nvGrpSpPr>
                <p:cNvPr id="75" name="Group 74">
                  <a:extLst>
                    <a:ext uri="{FF2B5EF4-FFF2-40B4-BE49-F238E27FC236}">
                      <a16:creationId xmlns:a16="http://schemas.microsoft.com/office/drawing/2014/main" id="{E17A82A1-AAD8-19C6-562B-4F5BD6B7C50B}"/>
                    </a:ext>
                  </a:extLst>
                </p:cNvPr>
                <p:cNvGrpSpPr/>
                <p:nvPr/>
              </p:nvGrpSpPr>
              <p:grpSpPr>
                <a:xfrm>
                  <a:off x="811044" y="2147895"/>
                  <a:ext cx="1078255" cy="369332"/>
                  <a:chOff x="811044" y="1338283"/>
                  <a:chExt cx="1078255" cy="369332"/>
                </a:xfrm>
              </p:grpSpPr>
              <p:sp>
                <p:nvSpPr>
                  <p:cNvPr id="79" name="TextBox 78">
                    <a:extLst>
                      <a:ext uri="{FF2B5EF4-FFF2-40B4-BE49-F238E27FC236}">
                        <a16:creationId xmlns:a16="http://schemas.microsoft.com/office/drawing/2014/main" id="{C14BA7B7-EF4F-B0EA-BEEB-DA3D8C98F3A9}"/>
                      </a:ext>
                    </a:extLst>
                  </p:cNvPr>
                  <p:cNvSpPr txBox="1"/>
                  <p:nvPr/>
                </p:nvSpPr>
                <p:spPr>
                  <a:xfrm>
                    <a:off x="1109534" y="1338283"/>
                    <a:ext cx="779765" cy="369332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r>
                      <a:rPr lang="en-US"/>
                      <a:t>Digital</a:t>
                    </a:r>
                  </a:p>
                </p:txBody>
              </p:sp>
              <p:sp>
                <p:nvSpPr>
                  <p:cNvPr id="80" name="Rectangle 79">
                    <a:extLst>
                      <a:ext uri="{FF2B5EF4-FFF2-40B4-BE49-F238E27FC236}">
                        <a16:creationId xmlns:a16="http://schemas.microsoft.com/office/drawing/2014/main" id="{A31959CA-8CE1-33DE-97EB-5F160766EE14}"/>
                      </a:ext>
                    </a:extLst>
                  </p:cNvPr>
                  <p:cNvSpPr/>
                  <p:nvPr/>
                </p:nvSpPr>
                <p:spPr>
                  <a:xfrm>
                    <a:off x="811044" y="1393100"/>
                    <a:ext cx="259698" cy="259698"/>
                  </a:xfrm>
                  <a:prstGeom prst="rect">
                    <a:avLst/>
                  </a:prstGeom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en-US"/>
                      <a:t>v</a:t>
                    </a:r>
                    <a:endParaRPr lang="en-ID"/>
                  </a:p>
                </p:txBody>
              </p:sp>
            </p:grpSp>
            <p:grpSp>
              <p:nvGrpSpPr>
                <p:cNvPr id="76" name="Group 75">
                  <a:extLst>
                    <a:ext uri="{FF2B5EF4-FFF2-40B4-BE49-F238E27FC236}">
                      <a16:creationId xmlns:a16="http://schemas.microsoft.com/office/drawing/2014/main" id="{22BEAF7B-375A-4230-5ECA-52B185BA4981}"/>
                    </a:ext>
                  </a:extLst>
                </p:cNvPr>
                <p:cNvGrpSpPr/>
                <p:nvPr/>
              </p:nvGrpSpPr>
              <p:grpSpPr>
                <a:xfrm>
                  <a:off x="811044" y="1747237"/>
                  <a:ext cx="1228296" cy="369332"/>
                  <a:chOff x="811044" y="1338283"/>
                  <a:chExt cx="1228296" cy="369332"/>
                </a:xfrm>
              </p:grpSpPr>
              <p:sp>
                <p:nvSpPr>
                  <p:cNvPr id="77" name="TextBox 76">
                    <a:extLst>
                      <a:ext uri="{FF2B5EF4-FFF2-40B4-BE49-F238E27FC236}">
                        <a16:creationId xmlns:a16="http://schemas.microsoft.com/office/drawing/2014/main" id="{F955DC59-4CAF-F1B7-01DA-5AD708C396B2}"/>
                      </a:ext>
                    </a:extLst>
                  </p:cNvPr>
                  <p:cNvSpPr txBox="1"/>
                  <p:nvPr/>
                </p:nvSpPr>
                <p:spPr>
                  <a:xfrm>
                    <a:off x="1109534" y="1338283"/>
                    <a:ext cx="929806" cy="369332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r>
                      <a:rPr lang="en-US"/>
                      <a:t>Metode</a:t>
                    </a:r>
                  </a:p>
                </p:txBody>
              </p:sp>
              <p:sp>
                <p:nvSpPr>
                  <p:cNvPr id="78" name="Rectangle 77">
                    <a:extLst>
                      <a:ext uri="{FF2B5EF4-FFF2-40B4-BE49-F238E27FC236}">
                        <a16:creationId xmlns:a16="http://schemas.microsoft.com/office/drawing/2014/main" id="{71E483C0-7DD8-511B-B048-70893655E03C}"/>
                      </a:ext>
                    </a:extLst>
                  </p:cNvPr>
                  <p:cNvSpPr/>
                  <p:nvPr/>
                </p:nvSpPr>
                <p:spPr>
                  <a:xfrm>
                    <a:off x="811044" y="1393100"/>
                    <a:ext cx="259698" cy="259698"/>
                  </a:xfrm>
                  <a:prstGeom prst="rect">
                    <a:avLst/>
                  </a:prstGeom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en-US"/>
                      <a:t>v</a:t>
                    </a:r>
                    <a:endParaRPr lang="en-ID"/>
                  </a:p>
                </p:txBody>
              </p:sp>
            </p:grpSp>
          </p:grpSp>
        </p:grpSp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2F01B873-C423-9509-96C1-3B1227A55389}"/>
                </a:ext>
              </a:extLst>
            </p:cNvPr>
            <p:cNvSpPr txBox="1"/>
            <p:nvPr/>
          </p:nvSpPr>
          <p:spPr>
            <a:xfrm>
              <a:off x="6657576" y="2292386"/>
              <a:ext cx="1330749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/>
                <a:t>New Produk</a:t>
              </a:r>
            </a:p>
          </p:txBody>
        </p:sp>
        <p:sp>
          <p:nvSpPr>
            <p:cNvPr id="86" name="Rectangle 85">
              <a:extLst>
                <a:ext uri="{FF2B5EF4-FFF2-40B4-BE49-F238E27FC236}">
                  <a16:creationId xmlns:a16="http://schemas.microsoft.com/office/drawing/2014/main" id="{26831572-D363-0054-1164-088A8ACDECA5}"/>
                </a:ext>
              </a:extLst>
            </p:cNvPr>
            <p:cNvSpPr/>
            <p:nvPr/>
          </p:nvSpPr>
          <p:spPr>
            <a:xfrm>
              <a:off x="6359086" y="2347203"/>
              <a:ext cx="259698" cy="25969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/>
                <a:t>v</a:t>
              </a:r>
              <a:endParaRPr lang="en-ID"/>
            </a:p>
          </p:txBody>
        </p:sp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F5BB01C-E383-D4EB-BDBD-FAA0DA9FB5E0}"/>
              </a:ext>
            </a:extLst>
          </p:cNvPr>
          <p:cNvGrpSpPr/>
          <p:nvPr/>
        </p:nvGrpSpPr>
        <p:grpSpPr>
          <a:xfrm>
            <a:off x="719502" y="2351626"/>
            <a:ext cx="9629841" cy="1584112"/>
            <a:chOff x="718799" y="933115"/>
            <a:chExt cx="9629841" cy="1584112"/>
          </a:xfrm>
        </p:grpSpPr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A492AC1A-C698-9603-77D0-64BD4147831C}"/>
                </a:ext>
              </a:extLst>
            </p:cNvPr>
            <p:cNvSpPr txBox="1"/>
            <p:nvPr/>
          </p:nvSpPr>
          <p:spPr>
            <a:xfrm>
              <a:off x="718799" y="933115"/>
              <a:ext cx="9629841" cy="394210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n-US" b="1">
                  <a:solidFill>
                    <a:srgbClr val="0C345B"/>
                  </a:solidFill>
                  <a:latin typeface="Futura Medium" panose="020B0602020204020303" pitchFamily="34" charset="-79"/>
                  <a:cs typeface="FUTURA MEDIUM" panose="020B0602020204020303" pitchFamily="34" charset="-79"/>
                </a:rPr>
                <a:t>Potensi Bagi Perusahaan</a:t>
              </a:r>
              <a:endParaRPr lang="en-US" dirty="0">
                <a:solidFill>
                  <a:srgbClr val="0C345B"/>
                </a:solidFill>
                <a:latin typeface="Futura Medium" panose="020B0602020204020303" pitchFamily="34" charset="-79"/>
                <a:cs typeface="Futura Medium" panose="020B0602020204020303" pitchFamily="34" charset="-79"/>
              </a:endParaRPr>
            </a:p>
          </p:txBody>
        </p:sp>
        <p:grpSp>
          <p:nvGrpSpPr>
            <p:cNvPr id="90" name="Group 89">
              <a:extLst>
                <a:ext uri="{FF2B5EF4-FFF2-40B4-BE49-F238E27FC236}">
                  <a16:creationId xmlns:a16="http://schemas.microsoft.com/office/drawing/2014/main" id="{3CFF7062-0F8F-BBB6-F916-2988F8020A8A}"/>
                </a:ext>
              </a:extLst>
            </p:cNvPr>
            <p:cNvGrpSpPr/>
            <p:nvPr/>
          </p:nvGrpSpPr>
          <p:grpSpPr>
            <a:xfrm>
              <a:off x="811044" y="1338283"/>
              <a:ext cx="1403151" cy="1178944"/>
              <a:chOff x="811044" y="1338283"/>
              <a:chExt cx="1403151" cy="1178944"/>
            </a:xfrm>
          </p:grpSpPr>
          <p:grpSp>
            <p:nvGrpSpPr>
              <p:cNvPr id="91" name="Group 90">
                <a:extLst>
                  <a:ext uri="{FF2B5EF4-FFF2-40B4-BE49-F238E27FC236}">
                    <a16:creationId xmlns:a16="http://schemas.microsoft.com/office/drawing/2014/main" id="{2A2C56FD-314B-AC44-BC74-2891372C20FE}"/>
                  </a:ext>
                </a:extLst>
              </p:cNvPr>
              <p:cNvGrpSpPr/>
              <p:nvPr/>
            </p:nvGrpSpPr>
            <p:grpSpPr>
              <a:xfrm>
                <a:off x="811044" y="1338283"/>
                <a:ext cx="1403151" cy="369332"/>
                <a:chOff x="811044" y="1338283"/>
                <a:chExt cx="1403151" cy="369332"/>
              </a:xfrm>
            </p:grpSpPr>
            <p:sp>
              <p:nvSpPr>
                <p:cNvPr id="98" name="TextBox 97">
                  <a:extLst>
                    <a:ext uri="{FF2B5EF4-FFF2-40B4-BE49-F238E27FC236}">
                      <a16:creationId xmlns:a16="http://schemas.microsoft.com/office/drawing/2014/main" id="{1626EAF1-5BAF-C9D4-488A-237456B13654}"/>
                    </a:ext>
                  </a:extLst>
                </p:cNvPr>
                <p:cNvSpPr txBox="1"/>
                <p:nvPr/>
              </p:nvSpPr>
              <p:spPr>
                <a:xfrm>
                  <a:off x="1109534" y="1338283"/>
                  <a:ext cx="1104661" cy="369332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n-US"/>
                    <a:t>Komersial</a:t>
                  </a:r>
                </a:p>
              </p:txBody>
            </p:sp>
            <p:sp>
              <p:nvSpPr>
                <p:cNvPr id="99" name="Rectangle 98">
                  <a:extLst>
                    <a:ext uri="{FF2B5EF4-FFF2-40B4-BE49-F238E27FC236}">
                      <a16:creationId xmlns:a16="http://schemas.microsoft.com/office/drawing/2014/main" id="{53ADF5A0-A7E0-E87D-A575-4DB8C270E500}"/>
                    </a:ext>
                  </a:extLst>
                </p:cNvPr>
                <p:cNvSpPr/>
                <p:nvPr/>
              </p:nvSpPr>
              <p:spPr>
                <a:xfrm>
                  <a:off x="811044" y="1393100"/>
                  <a:ext cx="259698" cy="259698"/>
                </a:xfrm>
                <a:prstGeom prst="rect">
                  <a:avLst/>
                </a:prstGeom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/>
                    <a:t>v</a:t>
                  </a:r>
                  <a:endParaRPr lang="en-ID"/>
                </a:p>
              </p:txBody>
            </p:sp>
          </p:grpSp>
          <p:grpSp>
            <p:nvGrpSpPr>
              <p:cNvPr id="92" name="Group 91">
                <a:extLst>
                  <a:ext uri="{FF2B5EF4-FFF2-40B4-BE49-F238E27FC236}">
                    <a16:creationId xmlns:a16="http://schemas.microsoft.com/office/drawing/2014/main" id="{FAC23D43-06C2-97CF-E552-1668C915F3F2}"/>
                  </a:ext>
                </a:extLst>
              </p:cNvPr>
              <p:cNvGrpSpPr/>
              <p:nvPr/>
            </p:nvGrpSpPr>
            <p:grpSpPr>
              <a:xfrm>
                <a:off x="811044" y="2147895"/>
                <a:ext cx="1017020" cy="369332"/>
                <a:chOff x="811044" y="1338283"/>
                <a:chExt cx="1017020" cy="369332"/>
              </a:xfrm>
            </p:grpSpPr>
            <p:sp>
              <p:nvSpPr>
                <p:cNvPr id="96" name="TextBox 95">
                  <a:extLst>
                    <a:ext uri="{FF2B5EF4-FFF2-40B4-BE49-F238E27FC236}">
                      <a16:creationId xmlns:a16="http://schemas.microsoft.com/office/drawing/2014/main" id="{255F5BFC-B10B-94E2-E680-D87C6251D40D}"/>
                    </a:ext>
                  </a:extLst>
                </p:cNvPr>
                <p:cNvSpPr txBox="1"/>
                <p:nvPr/>
              </p:nvSpPr>
              <p:spPr>
                <a:xfrm>
                  <a:off x="1109534" y="1338283"/>
                  <a:ext cx="718530" cy="369332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n-US"/>
                    <a:t>Paten</a:t>
                  </a:r>
                </a:p>
              </p:txBody>
            </p:sp>
            <p:sp>
              <p:nvSpPr>
                <p:cNvPr id="97" name="Rectangle 96">
                  <a:extLst>
                    <a:ext uri="{FF2B5EF4-FFF2-40B4-BE49-F238E27FC236}">
                      <a16:creationId xmlns:a16="http://schemas.microsoft.com/office/drawing/2014/main" id="{58496E97-7A1B-01C4-7BE0-C7C01A53E696}"/>
                    </a:ext>
                  </a:extLst>
                </p:cNvPr>
                <p:cNvSpPr/>
                <p:nvPr/>
              </p:nvSpPr>
              <p:spPr>
                <a:xfrm>
                  <a:off x="811044" y="1393100"/>
                  <a:ext cx="259698" cy="259698"/>
                </a:xfrm>
                <a:prstGeom prst="rect">
                  <a:avLst/>
                </a:prstGeom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/>
                    <a:t>v</a:t>
                  </a:r>
                  <a:endParaRPr lang="en-ID"/>
                </a:p>
              </p:txBody>
            </p:sp>
          </p:grpSp>
          <p:grpSp>
            <p:nvGrpSpPr>
              <p:cNvPr id="93" name="Group 92">
                <a:extLst>
                  <a:ext uri="{FF2B5EF4-FFF2-40B4-BE49-F238E27FC236}">
                    <a16:creationId xmlns:a16="http://schemas.microsoft.com/office/drawing/2014/main" id="{11308D62-5E31-E4C0-E121-2E52F678F675}"/>
                  </a:ext>
                </a:extLst>
              </p:cNvPr>
              <p:cNvGrpSpPr/>
              <p:nvPr/>
            </p:nvGrpSpPr>
            <p:grpSpPr>
              <a:xfrm>
                <a:off x="811044" y="1747237"/>
                <a:ext cx="1300687" cy="369332"/>
                <a:chOff x="811044" y="1338283"/>
                <a:chExt cx="1300687" cy="369332"/>
              </a:xfrm>
            </p:grpSpPr>
            <p:sp>
              <p:nvSpPr>
                <p:cNvPr id="94" name="TextBox 93">
                  <a:extLst>
                    <a:ext uri="{FF2B5EF4-FFF2-40B4-BE49-F238E27FC236}">
                      <a16:creationId xmlns:a16="http://schemas.microsoft.com/office/drawing/2014/main" id="{4A733C8D-B8BB-2884-B205-44E3CDF9691A}"/>
                    </a:ext>
                  </a:extLst>
                </p:cNvPr>
                <p:cNvSpPr txBox="1"/>
                <p:nvPr/>
              </p:nvSpPr>
              <p:spPr>
                <a:xfrm>
                  <a:off x="1109534" y="1338283"/>
                  <a:ext cx="1002197" cy="369332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n-US"/>
                    <a:t>Replikasi</a:t>
                  </a:r>
                </a:p>
              </p:txBody>
            </p:sp>
            <p:sp>
              <p:nvSpPr>
                <p:cNvPr id="95" name="Rectangle 94">
                  <a:extLst>
                    <a:ext uri="{FF2B5EF4-FFF2-40B4-BE49-F238E27FC236}">
                      <a16:creationId xmlns:a16="http://schemas.microsoft.com/office/drawing/2014/main" id="{4C81FFEE-B30C-5449-3140-ED41E72D6271}"/>
                    </a:ext>
                  </a:extLst>
                </p:cNvPr>
                <p:cNvSpPr/>
                <p:nvPr/>
              </p:nvSpPr>
              <p:spPr>
                <a:xfrm>
                  <a:off x="811044" y="1393100"/>
                  <a:ext cx="259698" cy="259698"/>
                </a:xfrm>
                <a:prstGeom prst="rect">
                  <a:avLst/>
                </a:prstGeom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/>
                    <a:t>v</a:t>
                  </a:r>
                  <a:endParaRPr lang="en-ID"/>
                </a:p>
              </p:txBody>
            </p:sp>
          </p:grpSp>
        </p:grpSp>
      </p:grpSp>
      <p:pic>
        <p:nvPicPr>
          <p:cNvPr id="4" name="Picture 3" descr="A black screen with white text&#10;&#10;Description automatically generated">
            <a:extLst>
              <a:ext uri="{FF2B5EF4-FFF2-40B4-BE49-F238E27FC236}">
                <a16:creationId xmlns:a16="http://schemas.microsoft.com/office/drawing/2014/main" id="{910C7818-CDD2-6CC6-9C8E-B29A29C38371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726" t="87519"/>
          <a:stretch/>
        </p:blipFill>
        <p:spPr>
          <a:xfrm>
            <a:off x="11584425" y="6477417"/>
            <a:ext cx="607574" cy="378163"/>
          </a:xfrm>
          <a:prstGeom prst="rect">
            <a:avLst/>
          </a:prstGeom>
        </p:spPr>
      </p:pic>
      <p:pic>
        <p:nvPicPr>
          <p:cNvPr id="6" name="Picture 5" descr="A black screen with white text&#10;&#10;Description automatically generated">
            <a:extLst>
              <a:ext uri="{FF2B5EF4-FFF2-40B4-BE49-F238E27FC236}">
                <a16:creationId xmlns:a16="http://schemas.microsoft.com/office/drawing/2014/main" id="{043E38A3-2968-26ED-3830-932B8475EC14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311" r="78841"/>
          <a:stretch/>
        </p:blipFill>
        <p:spPr>
          <a:xfrm>
            <a:off x="0" y="6478090"/>
            <a:ext cx="1425463" cy="388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862832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8B17A76-2FD6-269A-585B-A477B688AC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42A2480A-19F0-262B-E0C0-1E5D3793E279}"/>
              </a:ext>
            </a:extLst>
          </p:cNvPr>
          <p:cNvGrpSpPr/>
          <p:nvPr/>
        </p:nvGrpSpPr>
        <p:grpSpPr>
          <a:xfrm>
            <a:off x="0" y="-6002"/>
            <a:ext cx="12197884" cy="6858000"/>
            <a:chOff x="0" y="0"/>
            <a:chExt cx="12197884" cy="6858000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670CD412-842F-02F1-8CF9-8025934AAE26}"/>
                </a:ext>
              </a:extLst>
            </p:cNvPr>
            <p:cNvSpPr/>
            <p:nvPr/>
          </p:nvSpPr>
          <p:spPr>
            <a:xfrm>
              <a:off x="0" y="0"/>
              <a:ext cx="12197884" cy="6858000"/>
            </a:xfrm>
            <a:prstGeom prst="rect">
              <a:avLst/>
            </a:prstGeom>
            <a:gradFill>
              <a:gsLst>
                <a:gs pos="0">
                  <a:schemeClr val="accent1">
                    <a:lumMod val="5000"/>
                    <a:lumOff val="95000"/>
                    <a:alpha val="0"/>
                  </a:schemeClr>
                </a:gs>
                <a:gs pos="97000">
                  <a:srgbClr val="A6E1BD">
                    <a:alpha val="42115"/>
                  </a:srgbClr>
                </a:gs>
              </a:gsLst>
              <a:lin ang="4200000" scaled="0"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cs typeface="Futura Medium" panose="020B0602020204020303"/>
              </a:endParaRPr>
            </a:p>
          </p:txBody>
        </p:sp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189DE37D-7B97-844D-9D5D-2DA0991BC22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0"/>
              <a:ext cx="12192000" cy="6858000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779BF54A-A0F4-42DB-D464-B48FAA5AF883}"/>
              </a:ext>
            </a:extLst>
          </p:cNvPr>
          <p:cNvSpPr txBox="1"/>
          <p:nvPr/>
        </p:nvSpPr>
        <p:spPr>
          <a:xfrm>
            <a:off x="848860" y="315144"/>
            <a:ext cx="10482511" cy="56188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sz="2800" b="1">
                <a:solidFill>
                  <a:srgbClr val="0C345B"/>
                </a:solidFill>
                <a:latin typeface="Futura Medium" panose="020B0602020204020303" pitchFamily="34" charset="-79"/>
                <a:cs typeface="FUTURA MEDIUM" panose="020B0602020204020303" pitchFamily="34" charset="-79"/>
              </a:rPr>
              <a:t>Strukturisasi Masalah</a:t>
            </a:r>
            <a:endParaRPr lang="en-US" sz="2800" dirty="0">
              <a:solidFill>
                <a:srgbClr val="0C345B"/>
              </a:solidFill>
              <a:latin typeface="Futura Medium" panose="020B0602020204020303" pitchFamily="34" charset="-79"/>
              <a:cs typeface="Futura Medium" panose="020B0602020204020303" pitchFamily="34" charset="-79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048E450B-84A8-B398-17E8-7A57211EBA68}"/>
              </a:ext>
            </a:extLst>
          </p:cNvPr>
          <p:cNvGrpSpPr/>
          <p:nvPr/>
        </p:nvGrpSpPr>
        <p:grpSpPr>
          <a:xfrm>
            <a:off x="0" y="-6002"/>
            <a:ext cx="1439008" cy="463236"/>
            <a:chOff x="93023" y="-6002"/>
            <a:chExt cx="1439008" cy="463236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2933B7E9-8E86-E545-32BC-F090CF6C6FCC}"/>
                </a:ext>
              </a:extLst>
            </p:cNvPr>
            <p:cNvGrpSpPr/>
            <p:nvPr/>
          </p:nvGrpSpPr>
          <p:grpSpPr>
            <a:xfrm>
              <a:off x="93023" y="-6002"/>
              <a:ext cx="1439008" cy="463236"/>
              <a:chOff x="6171866" y="126174"/>
              <a:chExt cx="1126238" cy="369332"/>
            </a:xfrm>
          </p:grpSpPr>
          <p:pic>
            <p:nvPicPr>
              <p:cNvPr id="19" name="Picture 18">
                <a:extLst>
                  <a:ext uri="{FF2B5EF4-FFF2-40B4-BE49-F238E27FC236}">
                    <a16:creationId xmlns:a16="http://schemas.microsoft.com/office/drawing/2014/main" id="{FBBDDBB2-F4BD-AFEF-FD62-E463A5FFCE01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74148" b="84200"/>
              <a:stretch/>
            </p:blipFill>
            <p:spPr>
              <a:xfrm flipH="1">
                <a:off x="6171866" y="126174"/>
                <a:ext cx="1126238" cy="369332"/>
              </a:xfrm>
              <a:prstGeom prst="rect">
                <a:avLst/>
              </a:prstGeom>
              <a:effectLst>
                <a:outerShdw blurRad="50800" dist="38100" dir="8100000" algn="tr" rotWithShape="0">
                  <a:prstClr val="black">
                    <a:alpha val="40000"/>
                  </a:prstClr>
                </a:outerShdw>
              </a:effectLst>
            </p:spPr>
          </p:pic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B4928C34-6870-A1F3-4CA2-0934E4EB7B96}"/>
                  </a:ext>
                </a:extLst>
              </p:cNvPr>
              <p:cNvSpPr/>
              <p:nvPr/>
            </p:nvSpPr>
            <p:spPr>
              <a:xfrm>
                <a:off x="6271117" y="143647"/>
                <a:ext cx="771525" cy="23857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/>
              </a:p>
            </p:txBody>
          </p:sp>
        </p:grpSp>
        <p:pic>
          <p:nvPicPr>
            <p:cNvPr id="18" name="Picture 17" descr="A black background with a black square&#10;&#10;AI-generated content may be incorrect.">
              <a:extLst>
                <a:ext uri="{FF2B5EF4-FFF2-40B4-BE49-F238E27FC236}">
                  <a16:creationId xmlns:a16="http://schemas.microsoft.com/office/drawing/2014/main" id="{9D1BAD26-B0B3-F18B-3AD3-C848661B792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9837" y="48823"/>
              <a:ext cx="934769" cy="233412"/>
            </a:xfrm>
            <a:prstGeom prst="rect">
              <a:avLst/>
            </a:prstGeom>
          </p:spPr>
        </p:pic>
      </p:grpSp>
      <p:pic>
        <p:nvPicPr>
          <p:cNvPr id="100" name="table">
            <a:extLst>
              <a:ext uri="{FF2B5EF4-FFF2-40B4-BE49-F238E27FC236}">
                <a16:creationId xmlns:a16="http://schemas.microsoft.com/office/drawing/2014/main" id="{4E1F8C2C-9189-8F8F-FFCF-0329274F222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14259" y="1306142"/>
            <a:ext cx="5877819" cy="3332174"/>
          </a:xfrm>
          <a:prstGeom prst="rect">
            <a:avLst/>
          </a:prstGeom>
        </p:spPr>
      </p:pic>
      <p:pic>
        <p:nvPicPr>
          <p:cNvPr id="101" name="Picture 100">
            <a:extLst>
              <a:ext uri="{FF2B5EF4-FFF2-40B4-BE49-F238E27FC236}">
                <a16:creationId xmlns:a16="http://schemas.microsoft.com/office/drawing/2014/main" id="{063B71DB-5305-113C-6971-1B3398D85EA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8374" y="4638316"/>
            <a:ext cx="5016277" cy="1880288"/>
          </a:xfrm>
          <a:prstGeom prst="rect">
            <a:avLst/>
          </a:prstGeom>
        </p:spPr>
      </p:pic>
      <p:sp>
        <p:nvSpPr>
          <p:cNvPr id="102" name="TextBox 101">
            <a:extLst>
              <a:ext uri="{FF2B5EF4-FFF2-40B4-BE49-F238E27FC236}">
                <a16:creationId xmlns:a16="http://schemas.microsoft.com/office/drawing/2014/main" id="{3D266A07-CD89-4166-91E0-C00DEDF13DA3}"/>
              </a:ext>
            </a:extLst>
          </p:cNvPr>
          <p:cNvSpPr txBox="1"/>
          <p:nvPr/>
        </p:nvSpPr>
        <p:spPr>
          <a:xfrm>
            <a:off x="314259" y="877029"/>
            <a:ext cx="160888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Risk Matrix</a:t>
            </a:r>
            <a:endParaRPr lang="en-ID" sz="2000" dirty="0"/>
          </a:p>
        </p:txBody>
      </p:sp>
      <p:sp>
        <p:nvSpPr>
          <p:cNvPr id="103" name="Rectangle: Rounded Corners 102">
            <a:extLst>
              <a:ext uri="{FF2B5EF4-FFF2-40B4-BE49-F238E27FC236}">
                <a16:creationId xmlns:a16="http://schemas.microsoft.com/office/drawing/2014/main" id="{6F7DEDD8-E29D-26C5-464C-5697B273E709}"/>
              </a:ext>
            </a:extLst>
          </p:cNvPr>
          <p:cNvSpPr/>
          <p:nvPr/>
        </p:nvSpPr>
        <p:spPr>
          <a:xfrm>
            <a:off x="8873837" y="2426938"/>
            <a:ext cx="2306781" cy="1265735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en-US" sz="1400"/>
              <a:t>Dari Risk Matrix disamping, Risk Level yang paling tinggi terdapat di point </a:t>
            </a:r>
            <a:r>
              <a:rPr lang="en-US" sz="1400" b="1"/>
              <a:t>Quality</a:t>
            </a:r>
            <a:endParaRPr lang="en-ID" sz="1400" b="1"/>
          </a:p>
        </p:txBody>
      </p:sp>
      <p:sp>
        <p:nvSpPr>
          <p:cNvPr id="105" name="Arrow: Right 104">
            <a:extLst>
              <a:ext uri="{FF2B5EF4-FFF2-40B4-BE49-F238E27FC236}">
                <a16:creationId xmlns:a16="http://schemas.microsoft.com/office/drawing/2014/main" id="{BA7DE911-729E-9196-6C1E-5128BBC6BEDE}"/>
              </a:ext>
            </a:extLst>
          </p:cNvPr>
          <p:cNvSpPr/>
          <p:nvPr/>
        </p:nvSpPr>
        <p:spPr>
          <a:xfrm flipH="1">
            <a:off x="6821185" y="2667309"/>
            <a:ext cx="1558636" cy="784991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pic>
        <p:nvPicPr>
          <p:cNvPr id="3" name="Picture 2" descr="A black screen with white text&#10;&#10;Description automatically generated">
            <a:extLst>
              <a:ext uri="{FF2B5EF4-FFF2-40B4-BE49-F238E27FC236}">
                <a16:creationId xmlns:a16="http://schemas.microsoft.com/office/drawing/2014/main" id="{C9348110-474F-63E3-0A47-FA5F0B8380D2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726" t="87519"/>
          <a:stretch/>
        </p:blipFill>
        <p:spPr>
          <a:xfrm>
            <a:off x="11584425" y="6477417"/>
            <a:ext cx="607574" cy="378163"/>
          </a:xfrm>
          <a:prstGeom prst="rect">
            <a:avLst/>
          </a:prstGeom>
        </p:spPr>
      </p:pic>
      <p:pic>
        <p:nvPicPr>
          <p:cNvPr id="4" name="Picture 3" descr="A black screen with white text&#10;&#10;Description automatically generated">
            <a:extLst>
              <a:ext uri="{FF2B5EF4-FFF2-40B4-BE49-F238E27FC236}">
                <a16:creationId xmlns:a16="http://schemas.microsoft.com/office/drawing/2014/main" id="{32880DEE-88C6-289C-56CF-D8D54531D221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311" r="78841"/>
          <a:stretch/>
        </p:blipFill>
        <p:spPr>
          <a:xfrm>
            <a:off x="0" y="6478090"/>
            <a:ext cx="1425463" cy="388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640994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46AA6C-DBAF-6FD0-3B25-5789EF258A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109920DA-AE82-7229-71AF-950B923F967B}"/>
              </a:ext>
            </a:extLst>
          </p:cNvPr>
          <p:cNvGrpSpPr/>
          <p:nvPr/>
        </p:nvGrpSpPr>
        <p:grpSpPr>
          <a:xfrm>
            <a:off x="-5884" y="15914"/>
            <a:ext cx="12197884" cy="6858000"/>
            <a:chOff x="0" y="0"/>
            <a:chExt cx="12197884" cy="6858000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B700A513-0D9E-7349-6FB7-925FEEF000F7}"/>
                </a:ext>
              </a:extLst>
            </p:cNvPr>
            <p:cNvSpPr/>
            <p:nvPr/>
          </p:nvSpPr>
          <p:spPr>
            <a:xfrm>
              <a:off x="0" y="0"/>
              <a:ext cx="12197884" cy="6858000"/>
            </a:xfrm>
            <a:prstGeom prst="rect">
              <a:avLst/>
            </a:prstGeom>
            <a:gradFill>
              <a:gsLst>
                <a:gs pos="0">
                  <a:schemeClr val="accent1">
                    <a:lumMod val="5000"/>
                    <a:lumOff val="95000"/>
                    <a:alpha val="0"/>
                  </a:schemeClr>
                </a:gs>
                <a:gs pos="97000">
                  <a:srgbClr val="A6E1BD">
                    <a:alpha val="42115"/>
                  </a:srgbClr>
                </a:gs>
              </a:gsLst>
              <a:lin ang="4200000" scaled="0"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cs typeface="Futura Medium" panose="020B0602020204020303"/>
              </a:endParaRPr>
            </a:p>
          </p:txBody>
        </p:sp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434BF763-017D-6A0A-C296-ADDA072D4FD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0"/>
              <a:ext cx="12192000" cy="6858000"/>
            </a:xfrm>
            <a:prstGeom prst="rect">
              <a:avLst/>
            </a:prstGeom>
          </p:spPr>
        </p:pic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E87018D7-8CAB-B4ED-EE82-E84BC320C260}"/>
              </a:ext>
            </a:extLst>
          </p:cNvPr>
          <p:cNvSpPr txBox="1"/>
          <p:nvPr/>
        </p:nvSpPr>
        <p:spPr>
          <a:xfrm>
            <a:off x="848860" y="315144"/>
            <a:ext cx="10482511" cy="56188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sz="2800" b="1">
                <a:solidFill>
                  <a:srgbClr val="0C345B"/>
                </a:solidFill>
                <a:latin typeface="Futura Medium" panose="020B0602020204020303" pitchFamily="34" charset="-79"/>
                <a:cs typeface="FUTURA MEDIUM" panose="020B0602020204020303" pitchFamily="34" charset="-79"/>
              </a:rPr>
              <a:t>Faktor Penyebab Dominan</a:t>
            </a:r>
            <a:endParaRPr lang="en-US" sz="2800" dirty="0">
              <a:solidFill>
                <a:srgbClr val="0C345B"/>
              </a:solidFill>
              <a:latin typeface="Futura Medium" panose="020B0602020204020303" pitchFamily="34" charset="-79"/>
              <a:cs typeface="Futura Medium" panose="020B0602020204020303" pitchFamily="34" charset="-79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2DCAD311-3785-EBAE-C57B-4F2A4574DCEC}"/>
              </a:ext>
            </a:extLst>
          </p:cNvPr>
          <p:cNvGrpSpPr/>
          <p:nvPr/>
        </p:nvGrpSpPr>
        <p:grpSpPr>
          <a:xfrm>
            <a:off x="0" y="-6002"/>
            <a:ext cx="1439008" cy="463236"/>
            <a:chOff x="93023" y="-6002"/>
            <a:chExt cx="1439008" cy="463236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81572FC8-11D1-BC37-37E6-09C5BE012127}"/>
                </a:ext>
              </a:extLst>
            </p:cNvPr>
            <p:cNvGrpSpPr/>
            <p:nvPr/>
          </p:nvGrpSpPr>
          <p:grpSpPr>
            <a:xfrm>
              <a:off x="93023" y="-6002"/>
              <a:ext cx="1439008" cy="463236"/>
              <a:chOff x="6171866" y="126174"/>
              <a:chExt cx="1126238" cy="369332"/>
            </a:xfrm>
          </p:grpSpPr>
          <p:pic>
            <p:nvPicPr>
              <p:cNvPr id="19" name="Picture 18">
                <a:extLst>
                  <a:ext uri="{FF2B5EF4-FFF2-40B4-BE49-F238E27FC236}">
                    <a16:creationId xmlns:a16="http://schemas.microsoft.com/office/drawing/2014/main" id="{0CB49BC8-8F3B-AA59-ADC0-52AB99CD36B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74148" b="84200"/>
              <a:stretch/>
            </p:blipFill>
            <p:spPr>
              <a:xfrm flipH="1">
                <a:off x="6171866" y="126174"/>
                <a:ext cx="1126238" cy="369332"/>
              </a:xfrm>
              <a:prstGeom prst="rect">
                <a:avLst/>
              </a:prstGeom>
              <a:effectLst>
                <a:outerShdw blurRad="50800" dist="38100" dir="8100000" algn="tr" rotWithShape="0">
                  <a:prstClr val="black">
                    <a:alpha val="40000"/>
                  </a:prstClr>
                </a:outerShdw>
              </a:effectLst>
            </p:spPr>
          </p:pic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8CCFC56B-1476-2191-4AF7-AAE3446544DF}"/>
                  </a:ext>
                </a:extLst>
              </p:cNvPr>
              <p:cNvSpPr/>
              <p:nvPr/>
            </p:nvSpPr>
            <p:spPr>
              <a:xfrm>
                <a:off x="6271117" y="143647"/>
                <a:ext cx="771525" cy="23857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/>
              </a:p>
            </p:txBody>
          </p:sp>
        </p:grpSp>
        <p:pic>
          <p:nvPicPr>
            <p:cNvPr id="18" name="Picture 17" descr="A black background with a black square&#10;&#10;AI-generated content may be incorrect.">
              <a:extLst>
                <a:ext uri="{FF2B5EF4-FFF2-40B4-BE49-F238E27FC236}">
                  <a16:creationId xmlns:a16="http://schemas.microsoft.com/office/drawing/2014/main" id="{3E255468-172E-AF36-C33C-AF673A8FB83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9837" y="48823"/>
              <a:ext cx="934769" cy="233412"/>
            </a:xfrm>
            <a:prstGeom prst="rect">
              <a:avLst/>
            </a:prstGeom>
          </p:spPr>
        </p:pic>
      </p:grpSp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id="{C69B20F5-F18D-262C-41AB-37A38E1388E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5695919"/>
              </p:ext>
            </p:extLst>
          </p:nvPr>
        </p:nvGraphicFramePr>
        <p:xfrm>
          <a:off x="427967" y="-237310"/>
          <a:ext cx="10789104" cy="53496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0995BEE4-39A9-19C0-4ADE-6C44C68458E7}"/>
              </a:ext>
            </a:extLst>
          </p:cNvPr>
          <p:cNvSpPr txBox="1"/>
          <p:nvPr/>
        </p:nvSpPr>
        <p:spPr>
          <a:xfrm>
            <a:off x="236217" y="1096453"/>
            <a:ext cx="217505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/>
              <a:t>Vault Tree Analysis</a:t>
            </a:r>
            <a:endParaRPr lang="en-ID" sz="2000"/>
          </a:p>
        </p:txBody>
      </p:sp>
      <p:pic>
        <p:nvPicPr>
          <p:cNvPr id="7" name="table">
            <a:extLst>
              <a:ext uri="{FF2B5EF4-FFF2-40B4-BE49-F238E27FC236}">
                <a16:creationId xmlns:a16="http://schemas.microsoft.com/office/drawing/2014/main" id="{4D62F2C9-723F-6753-3C1A-81DE8740A6BB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0567" y="4177936"/>
            <a:ext cx="4582554" cy="2025050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35A2F75C-C0EF-C2AF-CA24-410B6F73F9F4}"/>
              </a:ext>
            </a:extLst>
          </p:cNvPr>
          <p:cNvGrpSpPr/>
          <p:nvPr/>
        </p:nvGrpSpPr>
        <p:grpSpPr>
          <a:xfrm>
            <a:off x="-10726" y="3876238"/>
            <a:ext cx="4643848" cy="330383"/>
            <a:chOff x="6471175" y="1036663"/>
            <a:chExt cx="5372132" cy="330383"/>
          </a:xfrm>
        </p:grpSpPr>
        <p:sp>
          <p:nvSpPr>
            <p:cNvPr id="23" name="Title 1">
              <a:extLst>
                <a:ext uri="{FF2B5EF4-FFF2-40B4-BE49-F238E27FC236}">
                  <a16:creationId xmlns:a16="http://schemas.microsoft.com/office/drawing/2014/main" id="{D57418AC-64FA-D3E8-FD52-46C78B608CB2}"/>
                </a:ext>
              </a:extLst>
            </p:cNvPr>
            <p:cNvSpPr txBox="1">
              <a:spLocks/>
            </p:cNvSpPr>
            <p:nvPr/>
          </p:nvSpPr>
          <p:spPr>
            <a:xfrm>
              <a:off x="6532362" y="1036663"/>
              <a:ext cx="5310945" cy="267796"/>
            </a:xfrm>
            <a:prstGeom prst="rect">
              <a:avLst/>
            </a:prstGeom>
            <a:solidFill>
              <a:srgbClr val="ED7D31"/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horz" anchor="ctr"/>
            <a:lstStyle>
              <a:defPPr>
                <a:defRPr lang="en-US"/>
              </a:defPPr>
              <a:lvl1pPr marL="0"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800" b="1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200" err="1">
                  <a:latin typeface="Aptos Narrow" panose="020B0004020202020204" pitchFamily="34" charset="0"/>
                  <a:cs typeface="Calibri" panose="020F0502020204030204" pitchFamily="34" charset="0"/>
                </a:rPr>
                <a:t>Strarifikasi</a:t>
              </a:r>
              <a:r>
                <a:rPr lang="en-US" sz="1200">
                  <a:latin typeface="Aptos Narrow" panose="020B0004020202020204" pitchFamily="34" charset="0"/>
                  <a:cs typeface="Calibri" panose="020F0502020204030204" pitchFamily="34" charset="0"/>
                </a:rPr>
                <a:t> Akar </a:t>
              </a:r>
              <a:r>
                <a:rPr lang="en-US" sz="1200" err="1">
                  <a:latin typeface="Aptos Narrow" panose="020B0004020202020204" pitchFamily="34" charset="0"/>
                  <a:cs typeface="Calibri" panose="020F0502020204030204" pitchFamily="34" charset="0"/>
                </a:rPr>
                <a:t>Penyebab</a:t>
              </a:r>
              <a:r>
                <a:rPr lang="en-US" sz="1200">
                  <a:latin typeface="Aptos Narrow" panose="020B0004020202020204" pitchFamily="34" charset="0"/>
                  <a:cs typeface="Calibri" panose="020F0502020204030204" pitchFamily="34" charset="0"/>
                </a:rPr>
                <a:t> Issue </a:t>
              </a:r>
              <a:r>
                <a:rPr lang="en-US" sz="1200" err="1">
                  <a:latin typeface="Aptos Narrow" panose="020B0004020202020204" pitchFamily="34" charset="0"/>
                  <a:cs typeface="Calibri" panose="020F0502020204030204" pitchFamily="34" charset="0"/>
                </a:rPr>
                <a:t>Dominan</a:t>
              </a:r>
              <a:endParaRPr lang="en-US" sz="1200">
                <a:latin typeface="Aptos Narrow" panose="020B000402020202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4" name="Flowchart: Connector 23">
              <a:extLst>
                <a:ext uri="{FF2B5EF4-FFF2-40B4-BE49-F238E27FC236}">
                  <a16:creationId xmlns:a16="http://schemas.microsoft.com/office/drawing/2014/main" id="{D0AA28AE-6C80-570D-F580-AB07ACFFE58C}"/>
                </a:ext>
              </a:extLst>
            </p:cNvPr>
            <p:cNvSpPr/>
            <p:nvPr/>
          </p:nvSpPr>
          <p:spPr>
            <a:xfrm>
              <a:off x="6471175" y="1238798"/>
              <a:ext cx="122373" cy="128248"/>
            </a:xfrm>
            <a:prstGeom prst="flowChartConnector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style>
            <a:lnRef idx="2">
              <a:schemeClr val="accent3">
                <a:shade val="15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ID"/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D080FD91-F733-DD7D-58A1-5A435643F143}"/>
              </a:ext>
            </a:extLst>
          </p:cNvPr>
          <p:cNvGrpSpPr/>
          <p:nvPr/>
        </p:nvGrpSpPr>
        <p:grpSpPr>
          <a:xfrm>
            <a:off x="4762015" y="3877656"/>
            <a:ext cx="4699763" cy="330383"/>
            <a:chOff x="6471175" y="1036663"/>
            <a:chExt cx="5372132" cy="330383"/>
          </a:xfrm>
        </p:grpSpPr>
        <p:sp>
          <p:nvSpPr>
            <p:cNvPr id="21" name="Title 1">
              <a:extLst>
                <a:ext uri="{FF2B5EF4-FFF2-40B4-BE49-F238E27FC236}">
                  <a16:creationId xmlns:a16="http://schemas.microsoft.com/office/drawing/2014/main" id="{10F448C7-4FFE-F0E3-09F7-AD7FEF2803A0}"/>
                </a:ext>
              </a:extLst>
            </p:cNvPr>
            <p:cNvSpPr txBox="1">
              <a:spLocks/>
            </p:cNvSpPr>
            <p:nvPr/>
          </p:nvSpPr>
          <p:spPr>
            <a:xfrm>
              <a:off x="6532362" y="1036663"/>
              <a:ext cx="5310945" cy="267796"/>
            </a:xfrm>
            <a:prstGeom prst="rect">
              <a:avLst/>
            </a:prstGeom>
            <a:solidFill>
              <a:srgbClr val="ED7D31"/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horz" anchor="ctr"/>
            <a:lstStyle>
              <a:defPPr>
                <a:defRPr lang="en-US"/>
              </a:defPPr>
              <a:lvl1pPr marL="0"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800" b="1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200">
                  <a:latin typeface="Aptos Narrow" panose="020B0004020202020204" pitchFamily="34" charset="0"/>
                  <a:cs typeface="Calibri" panose="020F0502020204030204" pitchFamily="34" charset="0"/>
                </a:rPr>
                <a:t>Pareto </a:t>
              </a:r>
              <a:r>
                <a:rPr lang="en-US" sz="1200" err="1">
                  <a:latin typeface="Aptos Narrow" panose="020B0004020202020204" pitchFamily="34" charset="0"/>
                  <a:cs typeface="Calibri" panose="020F0502020204030204" pitchFamily="34" charset="0"/>
                </a:rPr>
                <a:t>Penyebab</a:t>
              </a:r>
              <a:r>
                <a:rPr lang="en-US" sz="1200">
                  <a:latin typeface="Aptos Narrow" panose="020B0004020202020204" pitchFamily="34" charset="0"/>
                  <a:cs typeface="Calibri" panose="020F0502020204030204" pitchFamily="34" charset="0"/>
                </a:rPr>
                <a:t> </a:t>
              </a:r>
              <a:r>
                <a:rPr lang="en-US" sz="1200" err="1">
                  <a:latin typeface="Aptos Narrow" panose="020B0004020202020204" pitchFamily="34" charset="0"/>
                  <a:cs typeface="Calibri" panose="020F0502020204030204" pitchFamily="34" charset="0"/>
                </a:rPr>
                <a:t>Dominan</a:t>
              </a:r>
              <a:endParaRPr lang="en-US" sz="1200">
                <a:latin typeface="Aptos Narrow" panose="020B000402020202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2" name="Flowchart: Connector 21">
              <a:extLst>
                <a:ext uri="{FF2B5EF4-FFF2-40B4-BE49-F238E27FC236}">
                  <a16:creationId xmlns:a16="http://schemas.microsoft.com/office/drawing/2014/main" id="{3B0A75F6-9B50-E14F-3C1A-AE0645A6B4C8}"/>
                </a:ext>
              </a:extLst>
            </p:cNvPr>
            <p:cNvSpPr/>
            <p:nvPr/>
          </p:nvSpPr>
          <p:spPr>
            <a:xfrm>
              <a:off x="6471175" y="1238798"/>
              <a:ext cx="122373" cy="128248"/>
            </a:xfrm>
            <a:prstGeom prst="flowChartConnector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style>
            <a:lnRef idx="2">
              <a:schemeClr val="accent3">
                <a:shade val="15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ID"/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54A31C1B-CC92-8E3C-AC90-A5C09274D613}"/>
              </a:ext>
            </a:extLst>
          </p:cNvPr>
          <p:cNvGrpSpPr/>
          <p:nvPr/>
        </p:nvGrpSpPr>
        <p:grpSpPr>
          <a:xfrm>
            <a:off x="9493164" y="3891679"/>
            <a:ext cx="2523128" cy="388935"/>
            <a:chOff x="6424025" y="1036663"/>
            <a:chExt cx="5419282" cy="296495"/>
          </a:xfrm>
        </p:grpSpPr>
        <p:sp>
          <p:nvSpPr>
            <p:cNvPr id="12" name="Title 1">
              <a:extLst>
                <a:ext uri="{FF2B5EF4-FFF2-40B4-BE49-F238E27FC236}">
                  <a16:creationId xmlns:a16="http://schemas.microsoft.com/office/drawing/2014/main" id="{FBE55DB1-5D86-1853-C826-365EA94A7B57}"/>
                </a:ext>
              </a:extLst>
            </p:cNvPr>
            <p:cNvSpPr txBox="1">
              <a:spLocks/>
            </p:cNvSpPr>
            <p:nvPr/>
          </p:nvSpPr>
          <p:spPr>
            <a:xfrm>
              <a:off x="6532362" y="1036663"/>
              <a:ext cx="5310945" cy="267796"/>
            </a:xfrm>
            <a:prstGeom prst="rect">
              <a:avLst/>
            </a:prstGeom>
            <a:solidFill>
              <a:srgbClr val="ED7D31"/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horz" anchor="ctr"/>
            <a:lstStyle>
              <a:defPPr>
                <a:defRPr lang="en-US"/>
              </a:defPPr>
              <a:lvl1pPr marL="0"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800" b="1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200" dirty="0" err="1">
                  <a:latin typeface="Aptos Narrow" panose="020B0004020202020204" pitchFamily="34" charset="0"/>
                  <a:cs typeface="Calibri" panose="020F0502020204030204" pitchFamily="34" charset="0"/>
                </a:rPr>
                <a:t>Pemilihan</a:t>
              </a:r>
              <a:r>
                <a:rPr lang="en-US" sz="1200" dirty="0">
                  <a:latin typeface="Aptos Narrow" panose="020B0004020202020204" pitchFamily="34" charset="0"/>
                  <a:cs typeface="Calibri" panose="020F0502020204030204" pitchFamily="34" charset="0"/>
                </a:rPr>
                <a:t> </a:t>
              </a:r>
              <a:r>
                <a:rPr lang="en-US" sz="1200" dirty="0" err="1">
                  <a:latin typeface="Aptos Narrow" panose="020B0004020202020204" pitchFamily="34" charset="0"/>
                  <a:cs typeface="Calibri" panose="020F0502020204030204" pitchFamily="34" charset="0"/>
                </a:rPr>
                <a:t>Penyebab</a:t>
              </a:r>
              <a:r>
                <a:rPr lang="en-US" sz="1200" dirty="0">
                  <a:latin typeface="Aptos Narrow" panose="020B0004020202020204" pitchFamily="34" charset="0"/>
                  <a:cs typeface="Calibri" panose="020F0502020204030204" pitchFamily="34" charset="0"/>
                </a:rPr>
                <a:t> Utama </a:t>
              </a:r>
            </a:p>
            <a:p>
              <a:pPr algn="ctr"/>
              <a:r>
                <a:rPr lang="en-US" sz="1200" dirty="0">
                  <a:latin typeface="Aptos Narrow" panose="020B0004020202020204" pitchFamily="34" charset="0"/>
                  <a:cs typeface="Calibri" panose="020F0502020204030204" pitchFamily="34" charset="0"/>
                </a:rPr>
                <a:t>Yang Akan </a:t>
              </a:r>
              <a:r>
                <a:rPr lang="en-US" sz="1200" dirty="0" err="1">
                  <a:latin typeface="Aptos Narrow" panose="020B0004020202020204" pitchFamily="34" charset="0"/>
                  <a:cs typeface="Calibri" panose="020F0502020204030204" pitchFamily="34" charset="0"/>
                </a:rPr>
                <a:t>Diselesaikan</a:t>
              </a:r>
              <a:endParaRPr lang="en-US" sz="1200" dirty="0">
                <a:latin typeface="Aptos Narrow" panose="020B000402020202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3" name="Flowchart: Connector 12">
              <a:extLst>
                <a:ext uri="{FF2B5EF4-FFF2-40B4-BE49-F238E27FC236}">
                  <a16:creationId xmlns:a16="http://schemas.microsoft.com/office/drawing/2014/main" id="{5E14537C-B1C9-C86D-9DC4-53E7396B69BE}"/>
                </a:ext>
              </a:extLst>
            </p:cNvPr>
            <p:cNvSpPr/>
            <p:nvPr/>
          </p:nvSpPr>
          <p:spPr>
            <a:xfrm>
              <a:off x="6424025" y="1248028"/>
              <a:ext cx="227941" cy="85130"/>
            </a:xfrm>
            <a:prstGeom prst="flowChartConnector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style>
            <a:lnRef idx="2">
              <a:schemeClr val="accent3">
                <a:shade val="15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ID"/>
            </a:p>
          </p:txBody>
        </p:sp>
      </p:grpSp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89D11FE8-5CE9-CF92-006C-85F13D6A407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27501588"/>
              </p:ext>
            </p:extLst>
          </p:nvPr>
        </p:nvGraphicFramePr>
        <p:xfrm>
          <a:off x="4867520" y="4206621"/>
          <a:ext cx="4540467" cy="21202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28" name="Group 27">
            <a:extLst>
              <a:ext uri="{FF2B5EF4-FFF2-40B4-BE49-F238E27FC236}">
                <a16:creationId xmlns:a16="http://schemas.microsoft.com/office/drawing/2014/main" id="{334F023B-0F9F-30FB-AE81-89F76D3A7F7D}"/>
              </a:ext>
            </a:extLst>
          </p:cNvPr>
          <p:cNvGrpSpPr/>
          <p:nvPr/>
        </p:nvGrpSpPr>
        <p:grpSpPr>
          <a:xfrm>
            <a:off x="9543604" y="4384963"/>
            <a:ext cx="2472688" cy="1841462"/>
            <a:chOff x="9543604" y="4468091"/>
            <a:chExt cx="2472688" cy="1841462"/>
          </a:xfrm>
        </p:grpSpPr>
        <p:sp>
          <p:nvSpPr>
            <p:cNvPr id="25" name="Rectangle: Rounded Corners 24">
              <a:extLst>
                <a:ext uri="{FF2B5EF4-FFF2-40B4-BE49-F238E27FC236}">
                  <a16:creationId xmlns:a16="http://schemas.microsoft.com/office/drawing/2014/main" id="{895CF08C-C921-0923-6E25-009606613568}"/>
                </a:ext>
              </a:extLst>
            </p:cNvPr>
            <p:cNvSpPr/>
            <p:nvPr/>
          </p:nvSpPr>
          <p:spPr>
            <a:xfrm>
              <a:off x="9543604" y="4468091"/>
              <a:ext cx="2472688" cy="529936"/>
            </a:xfrm>
            <a:prstGeom prst="round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b="1"/>
                <a:t>TIDAK ADA DATABASE TERPUSAT</a:t>
              </a:r>
              <a:endParaRPr lang="en-ID" sz="1400" b="1"/>
            </a:p>
          </p:txBody>
        </p:sp>
        <p:sp>
          <p:nvSpPr>
            <p:cNvPr id="26" name="Rectangle: Rounded Corners 25">
              <a:extLst>
                <a:ext uri="{FF2B5EF4-FFF2-40B4-BE49-F238E27FC236}">
                  <a16:creationId xmlns:a16="http://schemas.microsoft.com/office/drawing/2014/main" id="{E3236586-666E-75B2-4C6C-D6C30B1DD988}"/>
                </a:ext>
              </a:extLst>
            </p:cNvPr>
            <p:cNvSpPr/>
            <p:nvPr/>
          </p:nvSpPr>
          <p:spPr>
            <a:xfrm>
              <a:off x="9543604" y="5123854"/>
              <a:ext cx="2472688" cy="529936"/>
            </a:xfrm>
            <a:prstGeom prst="round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b="1"/>
                <a:t>RESIKO KEAMANAN TINGGI</a:t>
              </a:r>
              <a:endParaRPr lang="en-ID" sz="1400" b="1"/>
            </a:p>
          </p:txBody>
        </p:sp>
        <p:sp>
          <p:nvSpPr>
            <p:cNvPr id="27" name="Rectangle: Rounded Corners 26">
              <a:extLst>
                <a:ext uri="{FF2B5EF4-FFF2-40B4-BE49-F238E27FC236}">
                  <a16:creationId xmlns:a16="http://schemas.microsoft.com/office/drawing/2014/main" id="{9A84A7B9-43EA-E179-3941-8F894037F2B5}"/>
                </a:ext>
              </a:extLst>
            </p:cNvPr>
            <p:cNvSpPr/>
            <p:nvPr/>
          </p:nvSpPr>
          <p:spPr>
            <a:xfrm>
              <a:off x="9543604" y="5779617"/>
              <a:ext cx="2472688" cy="529936"/>
            </a:xfrm>
            <a:prstGeom prst="round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b="1"/>
                <a:t>KEBEBASAN AKSES DATA</a:t>
              </a:r>
              <a:endParaRPr lang="en-ID" sz="1400" b="1"/>
            </a:p>
          </p:txBody>
        </p:sp>
      </p:grpSp>
      <p:pic>
        <p:nvPicPr>
          <p:cNvPr id="6" name="Picture 5" descr="A black screen with white text&#10;&#10;Description automatically generated">
            <a:extLst>
              <a:ext uri="{FF2B5EF4-FFF2-40B4-BE49-F238E27FC236}">
                <a16:creationId xmlns:a16="http://schemas.microsoft.com/office/drawing/2014/main" id="{D496D565-2A52-CCDB-946D-0E276CC0F76F}"/>
              </a:ext>
            </a:extLst>
          </p:cNvPr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726" t="87519"/>
          <a:stretch/>
        </p:blipFill>
        <p:spPr>
          <a:xfrm>
            <a:off x="11584425" y="6477417"/>
            <a:ext cx="607574" cy="378163"/>
          </a:xfrm>
          <a:prstGeom prst="rect">
            <a:avLst/>
          </a:prstGeom>
        </p:spPr>
      </p:pic>
      <p:pic>
        <p:nvPicPr>
          <p:cNvPr id="29" name="Picture 28" descr="A black screen with white text&#10;&#10;Description automatically generated">
            <a:extLst>
              <a:ext uri="{FF2B5EF4-FFF2-40B4-BE49-F238E27FC236}">
                <a16:creationId xmlns:a16="http://schemas.microsoft.com/office/drawing/2014/main" id="{68FB17D3-D56D-E43C-E5A3-65E9CB7EE73F}"/>
              </a:ext>
            </a:extLst>
          </p:cNvPr>
          <p:cNvPicPr>
            <a:picLocks noChangeAspect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311" r="78841"/>
          <a:stretch/>
        </p:blipFill>
        <p:spPr>
          <a:xfrm>
            <a:off x="0" y="6478090"/>
            <a:ext cx="1425463" cy="388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790058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21D211F-ADF4-96CE-CC53-3A0FC03E9E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FA82FA36-423F-2D98-E68C-00146294C446}"/>
              </a:ext>
            </a:extLst>
          </p:cNvPr>
          <p:cNvGrpSpPr/>
          <p:nvPr/>
        </p:nvGrpSpPr>
        <p:grpSpPr>
          <a:xfrm>
            <a:off x="-5884" y="-15914"/>
            <a:ext cx="12197884" cy="6858000"/>
            <a:chOff x="0" y="0"/>
            <a:chExt cx="12197884" cy="6858000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E4A9F281-DCC3-6B63-FCD2-258095DB3C05}"/>
                </a:ext>
              </a:extLst>
            </p:cNvPr>
            <p:cNvSpPr/>
            <p:nvPr/>
          </p:nvSpPr>
          <p:spPr>
            <a:xfrm>
              <a:off x="0" y="0"/>
              <a:ext cx="12197884" cy="6858000"/>
            </a:xfrm>
            <a:prstGeom prst="rect">
              <a:avLst/>
            </a:prstGeom>
            <a:gradFill>
              <a:gsLst>
                <a:gs pos="0">
                  <a:schemeClr val="accent1">
                    <a:lumMod val="5000"/>
                    <a:lumOff val="95000"/>
                    <a:alpha val="0"/>
                  </a:schemeClr>
                </a:gs>
                <a:gs pos="97000">
                  <a:srgbClr val="A6E1BD">
                    <a:alpha val="42115"/>
                  </a:srgbClr>
                </a:gs>
              </a:gsLst>
              <a:lin ang="4200000" scaled="0"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A6BD38BA-84FF-C726-0942-907BBFF78E0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0"/>
              <a:ext cx="12192000" cy="6858000"/>
            </a:xfrm>
            <a:prstGeom prst="rect">
              <a:avLst/>
            </a:prstGeom>
          </p:spPr>
        </p:pic>
      </p:grpSp>
      <p:graphicFrame>
        <p:nvGraphicFramePr>
          <p:cNvPr id="90" name="think-cell data - do not delete" hidden="1">
            <a:extLst>
              <a:ext uri="{FF2B5EF4-FFF2-40B4-BE49-F238E27FC236}">
                <a16:creationId xmlns:a16="http://schemas.microsoft.com/office/drawing/2014/main" id="{81A53250-6B44-94C9-54AF-883898BC3B1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86" imgH="486" progId="TCLayout.ActiveDocument.1">
                  <p:embed/>
                </p:oleObj>
              </mc:Choice>
              <mc:Fallback>
                <p:oleObj name="think-cell Slide" r:id="rId4" imgW="486" imgH="486" progId="TCLayout.ActiveDocument.1">
                  <p:embed/>
                  <p:pic>
                    <p:nvPicPr>
                      <p:cNvPr id="9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A53250-6B44-94C9-54AF-883898BC3B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4" name="Picture 163" descr="A black screen with white text&#10;&#10;Description automatically generated">
            <a:extLst>
              <a:ext uri="{FF2B5EF4-FFF2-40B4-BE49-F238E27FC236}">
                <a16:creationId xmlns:a16="http://schemas.microsoft.com/office/drawing/2014/main" id="{159CD60C-CDD1-6180-35D6-72D0AA2E9412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726" t="87519"/>
          <a:stretch/>
        </p:blipFill>
        <p:spPr>
          <a:xfrm>
            <a:off x="11584425" y="6477417"/>
            <a:ext cx="607574" cy="378163"/>
          </a:xfrm>
          <a:prstGeom prst="rect">
            <a:avLst/>
          </a:prstGeom>
        </p:spPr>
      </p:pic>
      <p:pic>
        <p:nvPicPr>
          <p:cNvPr id="165" name="Picture 164" descr="A black screen with white text&#10;&#10;Description automatically generated">
            <a:extLst>
              <a:ext uri="{FF2B5EF4-FFF2-40B4-BE49-F238E27FC236}">
                <a16:creationId xmlns:a16="http://schemas.microsoft.com/office/drawing/2014/main" id="{6370BA8A-738E-6B47-534D-B0D175E64EC3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311" r="78841"/>
          <a:stretch/>
        </p:blipFill>
        <p:spPr>
          <a:xfrm>
            <a:off x="0" y="6478090"/>
            <a:ext cx="1425463" cy="388376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007108E9-4E3C-721C-A24B-A4D5F7156BFD}"/>
              </a:ext>
            </a:extLst>
          </p:cNvPr>
          <p:cNvGrpSpPr/>
          <p:nvPr/>
        </p:nvGrpSpPr>
        <p:grpSpPr>
          <a:xfrm>
            <a:off x="0" y="-6002"/>
            <a:ext cx="1439008" cy="463236"/>
            <a:chOff x="93023" y="-6002"/>
            <a:chExt cx="1439008" cy="463236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DF8FAEDC-DEE3-2525-D0BF-2580308C062E}"/>
                </a:ext>
              </a:extLst>
            </p:cNvPr>
            <p:cNvGrpSpPr/>
            <p:nvPr/>
          </p:nvGrpSpPr>
          <p:grpSpPr>
            <a:xfrm>
              <a:off x="93023" y="-6002"/>
              <a:ext cx="1439008" cy="463236"/>
              <a:chOff x="6171866" y="126174"/>
              <a:chExt cx="1126238" cy="369332"/>
            </a:xfrm>
          </p:grpSpPr>
          <p:pic>
            <p:nvPicPr>
              <p:cNvPr id="10" name="Picture 9">
                <a:extLst>
                  <a:ext uri="{FF2B5EF4-FFF2-40B4-BE49-F238E27FC236}">
                    <a16:creationId xmlns:a16="http://schemas.microsoft.com/office/drawing/2014/main" id="{4082435A-A973-570C-42E4-FFAAE70DFA10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74148" b="84200"/>
              <a:stretch/>
            </p:blipFill>
            <p:spPr>
              <a:xfrm flipH="1">
                <a:off x="6171866" y="126174"/>
                <a:ext cx="1126238" cy="369332"/>
              </a:xfrm>
              <a:prstGeom prst="rect">
                <a:avLst/>
              </a:prstGeom>
              <a:effectLst>
                <a:outerShdw blurRad="50800" dist="38100" dir="8100000" algn="tr" rotWithShape="0">
                  <a:prstClr val="black">
                    <a:alpha val="40000"/>
                  </a:prstClr>
                </a:outerShdw>
              </a:effectLst>
            </p:spPr>
          </p:pic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61B4A45B-6A8C-9295-8458-72E1C8AFDC51}"/>
                  </a:ext>
                </a:extLst>
              </p:cNvPr>
              <p:cNvSpPr/>
              <p:nvPr/>
            </p:nvSpPr>
            <p:spPr>
              <a:xfrm>
                <a:off x="6271117" y="143647"/>
                <a:ext cx="771525" cy="23857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/>
              </a:p>
            </p:txBody>
          </p:sp>
        </p:grpSp>
        <p:pic>
          <p:nvPicPr>
            <p:cNvPr id="9" name="Picture 8" descr="A black background with a black square&#10;&#10;AI-generated content may be incorrect.">
              <a:extLst>
                <a:ext uri="{FF2B5EF4-FFF2-40B4-BE49-F238E27FC236}">
                  <a16:creationId xmlns:a16="http://schemas.microsoft.com/office/drawing/2014/main" id="{B00E3D04-7CF8-B1C1-8600-3B7E38EB3D11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9837" y="48823"/>
              <a:ext cx="934769" cy="233412"/>
            </a:xfrm>
            <a:prstGeom prst="rect">
              <a:avLst/>
            </a:prstGeom>
          </p:spPr>
        </p:pic>
      </p:grpSp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3332D8D9-9960-6E84-5511-353C6D715480}"/>
              </a:ext>
            </a:extLst>
          </p:cNvPr>
          <p:cNvGraphicFramePr>
            <a:graphicFrameLocks noGrp="1"/>
          </p:cNvGraphicFramePr>
          <p:nvPr/>
        </p:nvGraphicFramePr>
        <p:xfrm>
          <a:off x="418883" y="1298690"/>
          <a:ext cx="8724900" cy="260724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30496">
                  <a:extLst>
                    <a:ext uri="{9D8B030D-6E8A-4147-A177-3AD203B41FA5}">
                      <a16:colId xmlns:a16="http://schemas.microsoft.com/office/drawing/2014/main" val="1345690223"/>
                    </a:ext>
                  </a:extLst>
                </a:gridCol>
                <a:gridCol w="2573867">
                  <a:extLst>
                    <a:ext uri="{9D8B030D-6E8A-4147-A177-3AD203B41FA5}">
                      <a16:colId xmlns:a16="http://schemas.microsoft.com/office/drawing/2014/main" val="572672303"/>
                    </a:ext>
                  </a:extLst>
                </a:gridCol>
                <a:gridCol w="1168400">
                  <a:extLst>
                    <a:ext uri="{9D8B030D-6E8A-4147-A177-3AD203B41FA5}">
                      <a16:colId xmlns:a16="http://schemas.microsoft.com/office/drawing/2014/main" val="2354818439"/>
                    </a:ext>
                  </a:extLst>
                </a:gridCol>
                <a:gridCol w="1340937">
                  <a:extLst>
                    <a:ext uri="{9D8B030D-6E8A-4147-A177-3AD203B41FA5}">
                      <a16:colId xmlns:a16="http://schemas.microsoft.com/office/drawing/2014/main" val="4183847262"/>
                    </a:ext>
                  </a:extLst>
                </a:gridCol>
                <a:gridCol w="1135117">
                  <a:extLst>
                    <a:ext uri="{9D8B030D-6E8A-4147-A177-3AD203B41FA5}">
                      <a16:colId xmlns:a16="http://schemas.microsoft.com/office/drawing/2014/main" val="1824517513"/>
                    </a:ext>
                  </a:extLst>
                </a:gridCol>
                <a:gridCol w="676083">
                  <a:extLst>
                    <a:ext uri="{9D8B030D-6E8A-4147-A177-3AD203B41FA5}">
                      <a16:colId xmlns:a16="http://schemas.microsoft.com/office/drawing/2014/main" val="2720819859"/>
                    </a:ext>
                  </a:extLst>
                </a:gridCol>
              </a:tblGrid>
              <a:tr h="412686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ID" sz="1100" u="none" strike="noStrike">
                          <a:solidFill>
                            <a:schemeClr val="bg1"/>
                          </a:solidFill>
                          <a:effectLst/>
                        </a:rPr>
                        <a:t>Selected Root Cause</a:t>
                      </a:r>
                      <a:endParaRPr lang="en-ID" sz="1100" b="0" i="0" u="none" strike="noStrike">
                        <a:solidFill>
                          <a:schemeClr val="bg1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ID" sz="1100" u="none" strike="noStrike">
                          <a:solidFill>
                            <a:schemeClr val="bg1"/>
                          </a:solidFill>
                          <a:effectLst/>
                        </a:rPr>
                        <a:t>Alternative Solution</a:t>
                      </a:r>
                      <a:endParaRPr lang="en-ID" sz="1100" b="0" i="0" u="none" strike="noStrike">
                        <a:solidFill>
                          <a:schemeClr val="bg1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ID" sz="1100" u="none" strike="noStrike">
                          <a:solidFill>
                            <a:schemeClr val="bg1"/>
                          </a:solidFill>
                          <a:effectLst/>
                        </a:rPr>
                        <a:t>Cost Estimate</a:t>
                      </a:r>
                      <a:endParaRPr lang="en-ID" sz="1100" b="0" i="0" u="none" strike="noStrike">
                        <a:solidFill>
                          <a:schemeClr val="bg1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ID" sz="1100" u="none" strike="noStrike">
                          <a:solidFill>
                            <a:schemeClr val="bg1"/>
                          </a:solidFill>
                          <a:effectLst/>
                        </a:rPr>
                        <a:t>Duration Implementation</a:t>
                      </a:r>
                      <a:endParaRPr lang="en-ID" sz="1100" b="0" i="0" u="none" strike="noStrike">
                        <a:solidFill>
                          <a:schemeClr val="bg1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ID" sz="1100" u="none" strike="noStrike">
                          <a:solidFill>
                            <a:schemeClr val="bg1"/>
                          </a:solidFill>
                          <a:effectLst/>
                        </a:rPr>
                        <a:t>Low Effort High Impact</a:t>
                      </a:r>
                      <a:endParaRPr lang="en-ID" sz="1100" b="0" i="0" u="none" strike="noStrike">
                        <a:solidFill>
                          <a:schemeClr val="bg1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ID" sz="1100" u="none" strike="noStrike">
                          <a:solidFill>
                            <a:schemeClr val="bg1"/>
                          </a:solidFill>
                          <a:effectLst/>
                        </a:rPr>
                        <a:t>Solusi </a:t>
                      </a:r>
                      <a:r>
                        <a:rPr lang="en-ID" sz="1100" u="none" strike="noStrike" err="1">
                          <a:solidFill>
                            <a:schemeClr val="bg1"/>
                          </a:solidFill>
                          <a:effectLst/>
                        </a:rPr>
                        <a:t>Terpilih</a:t>
                      </a:r>
                      <a:endParaRPr lang="en-ID" sz="1100" b="0" i="0" u="none" strike="noStrike">
                        <a:solidFill>
                          <a:schemeClr val="bg1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4F81B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1176811"/>
                  </a:ext>
                </a:extLst>
              </a:tr>
              <a:tr h="365760">
                <a:tc rowSpan="2"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nn-NO" sz="1100" u="none" strike="noStrike">
                          <a:solidFill>
                            <a:schemeClr val="bg1"/>
                          </a:solidFill>
                          <a:effectLst/>
                        </a:rPr>
                        <a:t>Data tidak konsisten &amp; duplikasi antar divisi</a:t>
                      </a:r>
                      <a:endParaRPr lang="nn-NO" sz="1100" b="0" i="0" u="none" strike="noStrike">
                        <a:solidFill>
                          <a:schemeClr val="bg1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D" sz="1100" u="none" strike="noStrike" err="1">
                          <a:effectLst/>
                        </a:rPr>
                        <a:t>penambahan</a:t>
                      </a:r>
                      <a:r>
                        <a:rPr lang="en-ID" sz="1100" u="none" strike="noStrike">
                          <a:effectLst/>
                        </a:rPr>
                        <a:t> </a:t>
                      </a:r>
                      <a:r>
                        <a:rPr lang="en-ID" sz="1100" u="none" strike="noStrike" err="1">
                          <a:effectLst/>
                        </a:rPr>
                        <a:t>karyawan</a:t>
                      </a:r>
                      <a:r>
                        <a:rPr lang="en-ID" sz="1100" u="none" strike="noStrike">
                          <a:effectLst/>
                        </a:rPr>
                        <a:t> </a:t>
                      </a:r>
                      <a:r>
                        <a:rPr lang="en-ID" sz="1100" u="none" strike="noStrike" err="1">
                          <a:effectLst/>
                        </a:rPr>
                        <a:t>terfokus</a:t>
                      </a:r>
                      <a:r>
                        <a:rPr lang="en-ID" sz="1100" u="none" strike="noStrike">
                          <a:effectLst/>
                        </a:rPr>
                        <a:t> </a:t>
                      </a:r>
                      <a:r>
                        <a:rPr lang="en-ID" sz="1100" u="none" strike="noStrike" err="1">
                          <a:effectLst/>
                        </a:rPr>
                        <a:t>untuk</a:t>
                      </a:r>
                      <a:r>
                        <a:rPr lang="en-ID" sz="1100" u="none" strike="noStrike">
                          <a:effectLst/>
                        </a:rPr>
                        <a:t> management data</a:t>
                      </a:r>
                      <a:endParaRPr lang="en-ID" sz="1100" b="0" i="0" u="none" strike="noStrike">
                        <a:solidFill>
                          <a:srgbClr val="FFFFFF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D" sz="1100" u="none" strike="noStrike">
                          <a:effectLst/>
                        </a:rPr>
                        <a:t> Rp 168.000.000</a:t>
                      </a:r>
                      <a:endParaRPr lang="en-ID" sz="1100" b="0" i="0" u="none" strike="noStrike">
                        <a:solidFill>
                          <a:srgbClr val="FFFFFF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D" sz="1100" u="none" strike="noStrike">
                          <a:effectLst/>
                        </a:rPr>
                        <a:t> 1 </a:t>
                      </a:r>
                      <a:r>
                        <a:rPr lang="en-ID" sz="1100" u="none" strike="noStrike" err="1">
                          <a:effectLst/>
                        </a:rPr>
                        <a:t>tahun</a:t>
                      </a:r>
                      <a:endParaRPr lang="en-ID" sz="1100" b="0" i="0" u="none" strike="noStrike">
                        <a:solidFill>
                          <a:srgbClr val="FFFFFF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D" sz="1100" u="none" strike="noStrike">
                          <a:effectLst/>
                        </a:rPr>
                        <a:t> High effort </a:t>
                      </a:r>
                    </a:p>
                    <a:p>
                      <a:pPr algn="l" fontAlgn="ctr">
                        <a:buNone/>
                      </a:pPr>
                      <a:r>
                        <a:rPr lang="en-ID" sz="1100" u="none" strike="noStrike">
                          <a:effectLst/>
                        </a:rPr>
                        <a:t>high </a:t>
                      </a:r>
                      <a:r>
                        <a:rPr lang="en-ID" sz="1100" u="none" strike="noStrike" err="1">
                          <a:effectLst/>
                        </a:rPr>
                        <a:t>Impaact</a:t>
                      </a:r>
                      <a:endParaRPr lang="en-ID" sz="1100" b="0" i="0" u="none" strike="noStrike">
                        <a:solidFill>
                          <a:srgbClr val="FFFFFF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D" sz="1100" u="none" strike="noStrike">
                          <a:effectLst/>
                        </a:rPr>
                        <a:t> No</a:t>
                      </a:r>
                      <a:endParaRPr lang="en-ID" sz="1100" b="0" i="0" u="none" strike="noStrike">
                        <a:solidFill>
                          <a:srgbClr val="FFFFFF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125723"/>
                  </a:ext>
                </a:extLst>
              </a:tr>
              <a:tr h="365760">
                <a:tc v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nn-NO" sz="1100" u="none" strike="noStrike">
                          <a:effectLst/>
                        </a:rPr>
                        <a:t>pembuatan sistem management data inspeksi (IDMS)</a:t>
                      </a:r>
                      <a:endParaRPr lang="nn-NO" sz="1100" b="0" i="0" u="none" strike="noStrike">
                        <a:solidFill>
                          <a:srgbClr val="FFFFFF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440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D" sz="1100" u="none" strike="noStrike">
                          <a:effectLst/>
                        </a:rPr>
                        <a:t> </a:t>
                      </a:r>
                      <a:r>
                        <a:rPr lang="en-US" sz="1100">
                          <a:solidFill>
                            <a:schemeClr val="tx1"/>
                          </a:solidFill>
                          <a:latin typeface="Aptos Narrow" panose="020B0004020202020204" pitchFamily="34" charset="0"/>
                        </a:rPr>
                        <a:t>Rp 256.000.000,-</a:t>
                      </a:r>
                      <a:endParaRPr lang="en-ID" sz="1100">
                        <a:solidFill>
                          <a:schemeClr val="tx1"/>
                        </a:solidFill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D" sz="1100" u="none" strike="noStrike">
                          <a:effectLst/>
                        </a:rPr>
                        <a:t> 1 </a:t>
                      </a:r>
                      <a:r>
                        <a:rPr lang="en-ID" sz="1100" u="none" strike="noStrike" err="1">
                          <a:effectLst/>
                        </a:rPr>
                        <a:t>tahun</a:t>
                      </a:r>
                      <a:endParaRPr lang="en-ID" sz="1100" b="0" i="0" u="none" strike="noStrike">
                        <a:solidFill>
                          <a:srgbClr val="FFFFFF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D" sz="1100" u="none" strike="noStrike">
                          <a:effectLst/>
                        </a:rPr>
                        <a:t> Medium effort high impact</a:t>
                      </a:r>
                      <a:endParaRPr lang="en-ID" sz="1100" b="0" i="0" u="none" strike="noStrike">
                        <a:solidFill>
                          <a:srgbClr val="FFFFFF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D" sz="1100" u="none" strike="noStrike">
                          <a:effectLst/>
                        </a:rPr>
                        <a:t> Yes</a:t>
                      </a:r>
                      <a:endParaRPr lang="en-ID" sz="1100" b="0" i="0" u="none" strike="noStrike">
                        <a:solidFill>
                          <a:srgbClr val="FFFFFF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1873135"/>
                  </a:ext>
                </a:extLst>
              </a:tr>
              <a:tr h="365760">
                <a:tc rowSpan="2"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D" sz="1100" u="none" strike="noStrike">
                          <a:solidFill>
                            <a:schemeClr val="bg1"/>
                          </a:solidFill>
                          <a:effectLst/>
                        </a:rPr>
                        <a:t>Tidak </a:t>
                      </a:r>
                      <a:r>
                        <a:rPr lang="en-ID" sz="1100" u="none" strike="noStrike" err="1">
                          <a:solidFill>
                            <a:schemeClr val="bg1"/>
                          </a:solidFill>
                          <a:effectLst/>
                        </a:rPr>
                        <a:t>ada</a:t>
                      </a:r>
                      <a:r>
                        <a:rPr lang="en-ID" sz="1100" u="none" strike="noStrike">
                          <a:solidFill>
                            <a:schemeClr val="bg1"/>
                          </a:solidFill>
                          <a:effectLst/>
                        </a:rPr>
                        <a:t> database </a:t>
                      </a:r>
                      <a:r>
                        <a:rPr lang="en-ID" sz="1100" u="none" strike="noStrike" err="1">
                          <a:solidFill>
                            <a:schemeClr val="bg1"/>
                          </a:solidFill>
                          <a:effectLst/>
                        </a:rPr>
                        <a:t>terintegrasi</a:t>
                      </a:r>
                      <a:r>
                        <a:rPr lang="en-ID" sz="1100" u="none" strike="noStrike">
                          <a:solidFill>
                            <a:schemeClr val="bg1"/>
                          </a:solidFill>
                          <a:effectLst/>
                        </a:rPr>
                        <a:t> (</a:t>
                      </a:r>
                      <a:r>
                        <a:rPr lang="en-ID" sz="1100" u="none" strike="noStrike" err="1">
                          <a:solidFill>
                            <a:schemeClr val="bg1"/>
                          </a:solidFill>
                          <a:effectLst/>
                        </a:rPr>
                        <a:t>masih</a:t>
                      </a:r>
                      <a:r>
                        <a:rPr lang="en-ID" sz="1100" u="none" strike="noStrike">
                          <a:solidFill>
                            <a:schemeClr val="bg1"/>
                          </a:solidFill>
                          <a:effectLst/>
                        </a:rPr>
                        <a:t> excel/manual)</a:t>
                      </a:r>
                      <a:endParaRPr lang="en-ID" sz="1100" b="0" i="0" u="none" strike="noStrike">
                        <a:solidFill>
                          <a:schemeClr val="bg1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fi-FI" sz="1100" u="none" strike="noStrike">
                          <a:effectLst/>
                        </a:rPr>
                        <a:t>pembuatan aplikasi menggunakan pihak ketiga</a:t>
                      </a:r>
                      <a:endParaRPr lang="fi-FI" sz="1100" b="0" i="0" u="none" strike="noStrike">
                        <a:solidFill>
                          <a:srgbClr val="FFFFFF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D" sz="1100" u="none" strike="noStrike">
                          <a:effectLst/>
                        </a:rPr>
                        <a:t> Rp 800.000.000</a:t>
                      </a:r>
                      <a:endParaRPr lang="en-ID" sz="1100" b="0" i="0" u="none" strike="noStrike">
                        <a:solidFill>
                          <a:srgbClr val="FFFFFF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D" sz="1100" u="none" strike="noStrike">
                          <a:effectLst/>
                        </a:rPr>
                        <a:t> 1 </a:t>
                      </a:r>
                      <a:r>
                        <a:rPr lang="en-ID" sz="1100" u="none" strike="noStrike" err="1">
                          <a:effectLst/>
                        </a:rPr>
                        <a:t>tahun</a:t>
                      </a:r>
                      <a:endParaRPr lang="en-ID" sz="1100" b="0" i="0" u="none" strike="noStrike">
                        <a:solidFill>
                          <a:srgbClr val="FFFFFF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D" sz="1100" u="none" strike="noStrike">
                          <a:effectLst/>
                        </a:rPr>
                        <a:t> High effort </a:t>
                      </a:r>
                    </a:p>
                    <a:p>
                      <a:pPr algn="l" fontAlgn="ctr">
                        <a:buNone/>
                      </a:pPr>
                      <a:r>
                        <a:rPr lang="en-ID" sz="1100" u="none" strike="noStrike">
                          <a:effectLst/>
                        </a:rPr>
                        <a:t>high </a:t>
                      </a:r>
                      <a:r>
                        <a:rPr lang="en-ID" sz="1100" u="none" strike="noStrike" err="1">
                          <a:effectLst/>
                        </a:rPr>
                        <a:t>Impaact</a:t>
                      </a:r>
                      <a:endParaRPr lang="en-ID" sz="1100" b="0" i="0" u="none" strike="noStrike">
                        <a:solidFill>
                          <a:srgbClr val="FFFFFF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D" sz="1100" u="none" strike="noStrike">
                          <a:effectLst/>
                        </a:rPr>
                        <a:t> No</a:t>
                      </a:r>
                      <a:endParaRPr lang="en-ID" sz="1100" b="0" i="0" u="none" strike="noStrike">
                        <a:solidFill>
                          <a:srgbClr val="FFFFFF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8496681"/>
                  </a:ext>
                </a:extLst>
              </a:tr>
              <a:tr h="365760">
                <a:tc v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D" sz="1100" u="none" strike="noStrike" err="1">
                          <a:effectLst/>
                        </a:rPr>
                        <a:t>pembuatan</a:t>
                      </a:r>
                      <a:r>
                        <a:rPr lang="en-ID" sz="1100" u="none" strike="noStrike">
                          <a:effectLst/>
                        </a:rPr>
                        <a:t> software/</a:t>
                      </a:r>
                      <a:r>
                        <a:rPr lang="en-ID" sz="1100" u="none" strike="noStrike" err="1">
                          <a:effectLst/>
                        </a:rPr>
                        <a:t>aplikasi</a:t>
                      </a:r>
                      <a:r>
                        <a:rPr lang="en-ID" sz="1100" u="none" strike="noStrike">
                          <a:effectLst/>
                        </a:rPr>
                        <a:t> </a:t>
                      </a:r>
                      <a:r>
                        <a:rPr lang="en-ID" sz="1100" u="none" strike="noStrike" err="1">
                          <a:effectLst/>
                        </a:rPr>
                        <a:t>dengan</a:t>
                      </a:r>
                      <a:r>
                        <a:rPr lang="en-ID" sz="1100" u="none" strike="noStrike">
                          <a:effectLst/>
                        </a:rPr>
                        <a:t> </a:t>
                      </a:r>
                      <a:r>
                        <a:rPr lang="en-ID" sz="1100" u="none" strike="noStrike" err="1">
                          <a:effectLst/>
                        </a:rPr>
                        <a:t>memperdayakan</a:t>
                      </a:r>
                      <a:r>
                        <a:rPr lang="en-ID" sz="1100" u="none" strike="noStrike">
                          <a:effectLst/>
                        </a:rPr>
                        <a:t> </a:t>
                      </a:r>
                      <a:r>
                        <a:rPr lang="en-ID" sz="1100" u="none" strike="noStrike" err="1">
                          <a:effectLst/>
                        </a:rPr>
                        <a:t>tenaga</a:t>
                      </a:r>
                      <a:r>
                        <a:rPr lang="en-ID" sz="1100" u="none" strike="noStrike">
                          <a:effectLst/>
                        </a:rPr>
                        <a:t> </a:t>
                      </a:r>
                      <a:r>
                        <a:rPr lang="en-ID" sz="1100" u="none" strike="noStrike" err="1">
                          <a:effectLst/>
                        </a:rPr>
                        <a:t>ahli</a:t>
                      </a:r>
                      <a:r>
                        <a:rPr lang="en-ID" sz="1100" u="none" strike="noStrike">
                          <a:effectLst/>
                        </a:rPr>
                        <a:t> </a:t>
                      </a:r>
                      <a:r>
                        <a:rPr lang="en-ID" sz="1100" u="none" strike="noStrike" err="1">
                          <a:effectLst/>
                        </a:rPr>
                        <a:t>daya</a:t>
                      </a:r>
                      <a:endParaRPr lang="en-ID" sz="1100" b="0" i="0" u="none" strike="noStrike">
                        <a:solidFill>
                          <a:srgbClr val="FFFFFF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440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D" sz="1100" u="none" strike="noStrike">
                          <a:effectLst/>
                        </a:rPr>
                        <a:t>  </a:t>
                      </a:r>
                      <a:r>
                        <a:rPr lang="en-US" sz="1100">
                          <a:solidFill>
                            <a:schemeClr val="tx1"/>
                          </a:solidFill>
                          <a:latin typeface="Aptos Narrow" panose="020B0004020202020204" pitchFamily="34" charset="0"/>
                        </a:rPr>
                        <a:t>Rp 256.000.000,-</a:t>
                      </a:r>
                      <a:endParaRPr lang="en-ID" sz="1100">
                        <a:solidFill>
                          <a:schemeClr val="tx1"/>
                        </a:solidFill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D" sz="1100" u="none" strike="noStrike">
                          <a:effectLst/>
                        </a:rPr>
                        <a:t> 1 </a:t>
                      </a:r>
                      <a:r>
                        <a:rPr lang="en-ID" sz="1100" u="none" strike="noStrike" err="1">
                          <a:effectLst/>
                        </a:rPr>
                        <a:t>tahun</a:t>
                      </a:r>
                      <a:endParaRPr lang="en-ID" sz="1100" b="0" i="0" u="none" strike="noStrike">
                        <a:solidFill>
                          <a:srgbClr val="FFFFFF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D" sz="1100" u="none" strike="noStrike">
                          <a:effectLst/>
                        </a:rPr>
                        <a:t> Medium effort high impact</a:t>
                      </a:r>
                      <a:endParaRPr lang="en-ID" sz="1100" b="0" i="0" u="none" strike="noStrike">
                        <a:solidFill>
                          <a:srgbClr val="FFFFFF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D" sz="1100" u="none" strike="noStrike">
                          <a:effectLst/>
                        </a:rPr>
                        <a:t> Yes</a:t>
                      </a:r>
                      <a:endParaRPr lang="en-ID" sz="1100" b="0" i="0" u="none" strike="noStrike">
                        <a:solidFill>
                          <a:srgbClr val="FFFFFF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9859890"/>
                  </a:ext>
                </a:extLst>
              </a:tr>
              <a:tr h="365760">
                <a:tc rowSpan="2"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nl-NL" sz="1100" u="none" strike="noStrike">
                          <a:solidFill>
                            <a:schemeClr val="bg1"/>
                          </a:solidFill>
                          <a:effectLst/>
                        </a:rPr>
                        <a:t>SOP dan kontrol akses belum memadai</a:t>
                      </a:r>
                      <a:endParaRPr lang="nl-NL" sz="1100" b="0" i="0" u="none" strike="noStrike">
                        <a:solidFill>
                          <a:schemeClr val="bg1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D" sz="1100" u="none" strike="noStrike" err="1">
                          <a:effectLst/>
                        </a:rPr>
                        <a:t>pembuatan</a:t>
                      </a:r>
                      <a:r>
                        <a:rPr lang="en-ID" sz="1100" u="none" strike="noStrike">
                          <a:effectLst/>
                        </a:rPr>
                        <a:t> SOP dan </a:t>
                      </a:r>
                      <a:r>
                        <a:rPr lang="en-ID" sz="1100" u="none" strike="noStrike" err="1">
                          <a:effectLst/>
                        </a:rPr>
                        <a:t>pelatihan</a:t>
                      </a:r>
                      <a:r>
                        <a:rPr lang="en-ID" sz="1100" u="none" strike="noStrike">
                          <a:effectLst/>
                        </a:rPr>
                        <a:t> management data</a:t>
                      </a:r>
                      <a:endParaRPr lang="en-ID" sz="1100" b="0" i="0" u="none" strike="noStrike">
                        <a:solidFill>
                          <a:srgbClr val="FFFFFF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D" sz="1100" u="none" strike="noStrike">
                          <a:effectLst/>
                        </a:rPr>
                        <a:t> Rp 10.000.000</a:t>
                      </a:r>
                      <a:endParaRPr lang="en-ID" sz="1100" b="0" i="0" u="none" strike="noStrike">
                        <a:solidFill>
                          <a:srgbClr val="FFFFFF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D" sz="1100" u="none" strike="noStrike">
                          <a:effectLst/>
                        </a:rPr>
                        <a:t> 1 </a:t>
                      </a:r>
                      <a:r>
                        <a:rPr lang="en-ID" sz="1100" u="none" strike="noStrike" err="1">
                          <a:effectLst/>
                        </a:rPr>
                        <a:t>tahun</a:t>
                      </a:r>
                      <a:endParaRPr lang="en-ID" sz="1100" b="0" i="0" u="none" strike="noStrike">
                        <a:solidFill>
                          <a:srgbClr val="FFFFFF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D" sz="1100" u="none" strike="noStrike">
                          <a:effectLst/>
                        </a:rPr>
                        <a:t> Low effort </a:t>
                      </a:r>
                    </a:p>
                    <a:p>
                      <a:pPr algn="l" fontAlgn="ctr">
                        <a:buNone/>
                      </a:pPr>
                      <a:r>
                        <a:rPr lang="en-ID" sz="1100" u="none" strike="noStrike">
                          <a:effectLst/>
                        </a:rPr>
                        <a:t>low </a:t>
                      </a:r>
                      <a:r>
                        <a:rPr lang="en-ID" sz="1100" u="none" strike="noStrike" err="1">
                          <a:effectLst/>
                        </a:rPr>
                        <a:t>Impaact</a:t>
                      </a:r>
                      <a:endParaRPr lang="en-ID" sz="1100" b="0" i="0" u="none" strike="noStrike">
                        <a:solidFill>
                          <a:srgbClr val="FFFFFF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D" sz="1100" u="none" strike="noStrike">
                          <a:effectLst/>
                        </a:rPr>
                        <a:t> No</a:t>
                      </a:r>
                      <a:endParaRPr lang="en-ID" sz="1100" b="0" i="0" u="none" strike="noStrike">
                        <a:solidFill>
                          <a:srgbClr val="FFFFFF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3947113"/>
                  </a:ext>
                </a:extLst>
              </a:tr>
              <a:tr h="365760">
                <a:tc v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nn-NO" sz="1100" u="none" strike="noStrike">
                          <a:effectLst/>
                        </a:rPr>
                        <a:t>pembuatan sistem management data inspeksi (IDMS)</a:t>
                      </a:r>
                      <a:endParaRPr lang="nn-NO" sz="1100" b="0" i="0" u="none" strike="noStrike">
                        <a:solidFill>
                          <a:srgbClr val="FFFFFF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440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D" sz="1100" u="none" strike="noStrike">
                          <a:effectLst/>
                        </a:rPr>
                        <a:t>  </a:t>
                      </a:r>
                      <a:r>
                        <a:rPr lang="en-US" sz="1100">
                          <a:solidFill>
                            <a:schemeClr val="tx1"/>
                          </a:solidFill>
                          <a:latin typeface="Aptos Narrow" panose="020B0004020202020204" pitchFamily="34" charset="0"/>
                        </a:rPr>
                        <a:t>Rp 256.000.000,-</a:t>
                      </a:r>
                      <a:endParaRPr lang="en-ID" sz="1100">
                        <a:solidFill>
                          <a:schemeClr val="tx1"/>
                        </a:solidFill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D" sz="1100" u="none" strike="noStrike">
                          <a:effectLst/>
                        </a:rPr>
                        <a:t> 1 </a:t>
                      </a:r>
                      <a:r>
                        <a:rPr lang="en-ID" sz="1100" u="none" strike="noStrike" err="1">
                          <a:effectLst/>
                        </a:rPr>
                        <a:t>tahun</a:t>
                      </a:r>
                      <a:endParaRPr lang="en-ID" sz="1100" b="0" i="0" u="none" strike="noStrike">
                        <a:solidFill>
                          <a:srgbClr val="FFFFFF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D" sz="1100" u="none" strike="noStrike">
                          <a:effectLst/>
                        </a:rPr>
                        <a:t> Medium effort high impact</a:t>
                      </a:r>
                      <a:endParaRPr lang="en-ID" sz="1100" b="0" i="0" u="none" strike="noStrike">
                        <a:solidFill>
                          <a:srgbClr val="FFFFFF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D" sz="1100" u="none" strike="noStrike">
                          <a:effectLst/>
                        </a:rPr>
                        <a:t> Yes</a:t>
                      </a:r>
                      <a:endParaRPr lang="en-ID" sz="1100" b="0" i="0" u="none" strike="noStrike">
                        <a:solidFill>
                          <a:srgbClr val="FFFFFF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3624968"/>
                  </a:ext>
                </a:extLst>
              </a:tr>
            </a:tbl>
          </a:graphicData>
        </a:graphic>
      </p:graphicFrame>
      <p:grpSp>
        <p:nvGrpSpPr>
          <p:cNvPr id="15" name="Group 14">
            <a:extLst>
              <a:ext uri="{FF2B5EF4-FFF2-40B4-BE49-F238E27FC236}">
                <a16:creationId xmlns:a16="http://schemas.microsoft.com/office/drawing/2014/main" id="{1D94B874-DB0A-01A5-D1B4-5957B9690D75}"/>
              </a:ext>
            </a:extLst>
          </p:cNvPr>
          <p:cNvGrpSpPr/>
          <p:nvPr/>
        </p:nvGrpSpPr>
        <p:grpSpPr>
          <a:xfrm>
            <a:off x="389400" y="1017099"/>
            <a:ext cx="8754386" cy="343081"/>
            <a:chOff x="6490624" y="1036663"/>
            <a:chExt cx="5352683" cy="343081"/>
          </a:xfrm>
        </p:grpSpPr>
        <p:sp>
          <p:nvSpPr>
            <p:cNvPr id="17" name="Title 1">
              <a:extLst>
                <a:ext uri="{FF2B5EF4-FFF2-40B4-BE49-F238E27FC236}">
                  <a16:creationId xmlns:a16="http://schemas.microsoft.com/office/drawing/2014/main" id="{8F0FA573-862C-C84A-A107-0D7FF28C03F2}"/>
                </a:ext>
              </a:extLst>
            </p:cNvPr>
            <p:cNvSpPr txBox="1">
              <a:spLocks/>
            </p:cNvSpPr>
            <p:nvPr/>
          </p:nvSpPr>
          <p:spPr>
            <a:xfrm>
              <a:off x="6532362" y="1036663"/>
              <a:ext cx="5310945" cy="267796"/>
            </a:xfrm>
            <a:prstGeom prst="rect">
              <a:avLst/>
            </a:prstGeom>
            <a:solidFill>
              <a:srgbClr val="ED7D31"/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horz" anchor="ctr"/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800" b="1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200" err="1">
                  <a:latin typeface="Aptos Narrow" panose="020B0004020202020204" pitchFamily="34" charset="0"/>
                  <a:cs typeface="Calibri" panose="020F0502020204030204" pitchFamily="34" charset="0"/>
                </a:rPr>
                <a:t>Perbandingan</a:t>
              </a:r>
              <a:r>
                <a:rPr lang="en-US" sz="1200">
                  <a:latin typeface="Aptos Narrow" panose="020B0004020202020204" pitchFamily="34" charset="0"/>
                  <a:cs typeface="Calibri" panose="020F0502020204030204" pitchFamily="34" charset="0"/>
                </a:rPr>
                <a:t> </a:t>
              </a:r>
              <a:r>
                <a:rPr lang="en-US" sz="1200" err="1">
                  <a:latin typeface="Aptos Narrow" panose="020B0004020202020204" pitchFamily="34" charset="0"/>
                  <a:cs typeface="Calibri" panose="020F0502020204030204" pitchFamily="34" charset="0"/>
                </a:rPr>
                <a:t>Alternatif</a:t>
              </a:r>
              <a:r>
                <a:rPr lang="en-US" sz="1200">
                  <a:latin typeface="Aptos Narrow" panose="020B0004020202020204" pitchFamily="34" charset="0"/>
                  <a:cs typeface="Calibri" panose="020F0502020204030204" pitchFamily="34" charset="0"/>
                </a:rPr>
                <a:t> Solusi</a:t>
              </a:r>
            </a:p>
          </p:txBody>
        </p:sp>
        <p:sp>
          <p:nvSpPr>
            <p:cNvPr id="18" name="Flowchart: Connector 17">
              <a:extLst>
                <a:ext uri="{FF2B5EF4-FFF2-40B4-BE49-F238E27FC236}">
                  <a16:creationId xmlns:a16="http://schemas.microsoft.com/office/drawing/2014/main" id="{9C3DD748-8DF0-209B-D934-5072D58B85B1}"/>
                </a:ext>
              </a:extLst>
            </p:cNvPr>
            <p:cNvSpPr/>
            <p:nvPr/>
          </p:nvSpPr>
          <p:spPr>
            <a:xfrm>
              <a:off x="6490624" y="1251496"/>
              <a:ext cx="83475" cy="128248"/>
            </a:xfrm>
            <a:prstGeom prst="flowChartConnector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style>
            <a:lnRef idx="2">
              <a:schemeClr val="accent3">
                <a:shade val="15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6E074283-4BEC-9B7B-336A-28A5240BB644}"/>
              </a:ext>
            </a:extLst>
          </p:cNvPr>
          <p:cNvGrpSpPr/>
          <p:nvPr/>
        </p:nvGrpSpPr>
        <p:grpSpPr>
          <a:xfrm>
            <a:off x="380449" y="3931626"/>
            <a:ext cx="5801737" cy="368483"/>
            <a:chOff x="6471175" y="998563"/>
            <a:chExt cx="5372132" cy="368483"/>
          </a:xfrm>
        </p:grpSpPr>
        <p:sp>
          <p:nvSpPr>
            <p:cNvPr id="20" name="Title 1">
              <a:extLst>
                <a:ext uri="{FF2B5EF4-FFF2-40B4-BE49-F238E27FC236}">
                  <a16:creationId xmlns:a16="http://schemas.microsoft.com/office/drawing/2014/main" id="{0B95E80B-6914-96B3-7DF4-C4F1322C3356}"/>
                </a:ext>
              </a:extLst>
            </p:cNvPr>
            <p:cNvSpPr txBox="1">
              <a:spLocks/>
            </p:cNvSpPr>
            <p:nvPr/>
          </p:nvSpPr>
          <p:spPr>
            <a:xfrm>
              <a:off x="6532362" y="998563"/>
              <a:ext cx="5310945" cy="267796"/>
            </a:xfrm>
            <a:prstGeom prst="rect">
              <a:avLst/>
            </a:prstGeom>
            <a:solidFill>
              <a:srgbClr val="ED7D31"/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horz" anchor="ctr"/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800" b="1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200" err="1">
                  <a:latin typeface="Aptos Narrow" panose="020B0004020202020204" pitchFamily="34" charset="0"/>
                  <a:cs typeface="Calibri" panose="020F0502020204030204" pitchFamily="34" charset="0"/>
                </a:rPr>
                <a:t>Rencana</a:t>
              </a:r>
              <a:r>
                <a:rPr lang="en-US" sz="1200">
                  <a:latin typeface="Aptos Narrow" panose="020B0004020202020204" pitchFamily="34" charset="0"/>
                  <a:cs typeface="Calibri" panose="020F0502020204030204" pitchFamily="34" charset="0"/>
                </a:rPr>
                <a:t> </a:t>
              </a:r>
              <a:r>
                <a:rPr lang="en-US" sz="1200" err="1">
                  <a:latin typeface="Aptos Narrow" panose="020B0004020202020204" pitchFamily="34" charset="0"/>
                  <a:cs typeface="Calibri" panose="020F0502020204030204" pitchFamily="34" charset="0"/>
                </a:rPr>
                <a:t>Anggaran</a:t>
              </a:r>
              <a:r>
                <a:rPr lang="en-US" sz="1200">
                  <a:latin typeface="Aptos Narrow" panose="020B0004020202020204" pitchFamily="34" charset="0"/>
                  <a:cs typeface="Calibri" panose="020F0502020204030204" pitchFamily="34" charset="0"/>
                </a:rPr>
                <a:t> </a:t>
              </a:r>
              <a:r>
                <a:rPr lang="en-US" sz="1200" err="1">
                  <a:latin typeface="Aptos Narrow" panose="020B0004020202020204" pitchFamily="34" charset="0"/>
                  <a:cs typeface="Calibri" panose="020F0502020204030204" pitchFamily="34" charset="0"/>
                </a:rPr>
                <a:t>Biaya</a:t>
              </a:r>
              <a:r>
                <a:rPr lang="en-US" sz="1200">
                  <a:latin typeface="Aptos Narrow" panose="020B0004020202020204" pitchFamily="34" charset="0"/>
                  <a:cs typeface="Calibri" panose="020F0502020204030204" pitchFamily="34" charset="0"/>
                </a:rPr>
                <a:t> Solusi </a:t>
              </a:r>
              <a:r>
                <a:rPr lang="en-US" sz="1200" err="1">
                  <a:latin typeface="Aptos Narrow" panose="020B0004020202020204" pitchFamily="34" charset="0"/>
                  <a:cs typeface="Calibri" panose="020F0502020204030204" pitchFamily="34" charset="0"/>
                </a:rPr>
                <a:t>Terpilih</a:t>
              </a:r>
              <a:endParaRPr lang="en-US" sz="1200">
                <a:latin typeface="Aptos Narrow" panose="020B000402020202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1" name="Flowchart: Connector 20">
              <a:extLst>
                <a:ext uri="{FF2B5EF4-FFF2-40B4-BE49-F238E27FC236}">
                  <a16:creationId xmlns:a16="http://schemas.microsoft.com/office/drawing/2014/main" id="{54A834B5-73E9-50FD-A58D-7DBE2AF9A039}"/>
                </a:ext>
              </a:extLst>
            </p:cNvPr>
            <p:cNvSpPr/>
            <p:nvPr/>
          </p:nvSpPr>
          <p:spPr>
            <a:xfrm>
              <a:off x="6471175" y="1238798"/>
              <a:ext cx="122373" cy="128248"/>
            </a:xfrm>
            <a:prstGeom prst="flowChartConnector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style>
            <a:lnRef idx="2">
              <a:schemeClr val="accent3">
                <a:shade val="15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</p:grp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7AFDFFD8-1213-8EFC-0393-6D0640FDB070}"/>
              </a:ext>
            </a:extLst>
          </p:cNvPr>
          <p:cNvGraphicFramePr>
            <a:graphicFrameLocks noGrp="1"/>
          </p:cNvGraphicFramePr>
          <p:nvPr/>
        </p:nvGraphicFramePr>
        <p:xfrm>
          <a:off x="446528" y="4231292"/>
          <a:ext cx="9150507" cy="229069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616731">
                  <a:extLst>
                    <a:ext uri="{9D8B030D-6E8A-4147-A177-3AD203B41FA5}">
                      <a16:colId xmlns:a16="http://schemas.microsoft.com/office/drawing/2014/main" val="3128721437"/>
                    </a:ext>
                  </a:extLst>
                </a:gridCol>
                <a:gridCol w="581025">
                  <a:extLst>
                    <a:ext uri="{9D8B030D-6E8A-4147-A177-3AD203B41FA5}">
                      <a16:colId xmlns:a16="http://schemas.microsoft.com/office/drawing/2014/main" val="835290834"/>
                    </a:ext>
                  </a:extLst>
                </a:gridCol>
                <a:gridCol w="1076325">
                  <a:extLst>
                    <a:ext uri="{9D8B030D-6E8A-4147-A177-3AD203B41FA5}">
                      <a16:colId xmlns:a16="http://schemas.microsoft.com/office/drawing/2014/main" val="3324083941"/>
                    </a:ext>
                  </a:extLst>
                </a:gridCol>
                <a:gridCol w="1876426">
                  <a:extLst>
                    <a:ext uri="{9D8B030D-6E8A-4147-A177-3AD203B41FA5}">
                      <a16:colId xmlns:a16="http://schemas.microsoft.com/office/drawing/2014/main" val="56207677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200" err="1">
                          <a:solidFill>
                            <a:schemeClr val="bg1"/>
                          </a:solidFill>
                          <a:latin typeface="Aptos Narrow" panose="020B0004020202020204" pitchFamily="34" charset="0"/>
                        </a:rPr>
                        <a:t>Uraian</a:t>
                      </a:r>
                      <a:endParaRPr lang="en-ID" sz="1400">
                        <a:solidFill>
                          <a:schemeClr val="bg1"/>
                        </a:solidFill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bg1"/>
                          </a:solidFill>
                          <a:latin typeface="Aptos Narrow" panose="020B0004020202020204" pitchFamily="34" charset="0"/>
                        </a:rPr>
                        <a:t>Qty</a:t>
                      </a:r>
                      <a:endParaRPr lang="en-ID" sz="1400">
                        <a:solidFill>
                          <a:schemeClr val="bg1"/>
                        </a:solidFill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err="1">
                          <a:solidFill>
                            <a:schemeClr val="bg1"/>
                          </a:solidFill>
                          <a:latin typeface="Aptos Narrow" panose="020B0004020202020204" pitchFamily="34" charset="0"/>
                        </a:rPr>
                        <a:t>Satuan</a:t>
                      </a:r>
                      <a:endParaRPr lang="en-ID" sz="1400">
                        <a:solidFill>
                          <a:schemeClr val="bg1"/>
                        </a:solidFill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bg1"/>
                          </a:solidFill>
                          <a:latin typeface="Aptos Narrow" panose="020B0004020202020204" pitchFamily="34" charset="0"/>
                        </a:rPr>
                        <a:t>Subtotal</a:t>
                      </a:r>
                      <a:endParaRPr lang="en-ID" sz="1400">
                        <a:solidFill>
                          <a:schemeClr val="bg1"/>
                        </a:solidFill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84719233"/>
                  </a:ext>
                </a:extLst>
              </a:tr>
              <a:tr h="255980">
                <a:tc gridSpan="4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D" sz="1100" b="1" u="none" strike="noStrike" err="1">
                          <a:effectLst/>
                        </a:rPr>
                        <a:t>Pembuatan</a:t>
                      </a:r>
                      <a:r>
                        <a:rPr lang="en-ID" sz="1100" b="1" u="none" strike="noStrike">
                          <a:effectLst/>
                        </a:rPr>
                        <a:t> Software/</a:t>
                      </a:r>
                      <a:r>
                        <a:rPr lang="en-ID" sz="1100" b="1" u="none" strike="noStrike" err="1">
                          <a:effectLst/>
                        </a:rPr>
                        <a:t>Aplikasi</a:t>
                      </a:r>
                      <a:r>
                        <a:rPr lang="en-ID" sz="1100" b="1" u="none" strike="noStrike">
                          <a:effectLst/>
                        </a:rPr>
                        <a:t> &amp; </a:t>
                      </a:r>
                      <a:r>
                        <a:rPr lang="en-ID" sz="1100" b="1" u="none" strike="noStrike" err="1">
                          <a:effectLst/>
                        </a:rPr>
                        <a:t>Sistem</a:t>
                      </a:r>
                      <a:r>
                        <a:rPr lang="en-ID" sz="1100" b="1" u="none" strike="noStrike">
                          <a:effectLst/>
                        </a:rPr>
                        <a:t> Management Data Inspeksi (IDMS) </a:t>
                      </a:r>
                      <a:r>
                        <a:rPr lang="en-ID" sz="1100" b="1" u="none" strike="noStrike" err="1">
                          <a:effectLst/>
                        </a:rPr>
                        <a:t>Dengan</a:t>
                      </a:r>
                      <a:r>
                        <a:rPr lang="en-ID" sz="1100" b="1" u="none" strike="noStrike">
                          <a:effectLst/>
                        </a:rPr>
                        <a:t> </a:t>
                      </a:r>
                      <a:r>
                        <a:rPr lang="en-ID" sz="1100" b="1" u="none" strike="noStrike" err="1">
                          <a:effectLst/>
                        </a:rPr>
                        <a:t>Memperdayakan</a:t>
                      </a:r>
                      <a:r>
                        <a:rPr lang="en-ID" sz="1100" b="1" u="none" strike="noStrike">
                          <a:effectLst/>
                        </a:rPr>
                        <a:t> TAD</a:t>
                      </a:r>
                      <a:endParaRPr lang="en-ID" sz="1100" b="1" i="0" u="none" strike="noStrike">
                        <a:solidFill>
                          <a:srgbClr val="FFFFFF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D" sz="1100" b="1" i="0" u="none" strike="noStrike">
                        <a:solidFill>
                          <a:srgbClr val="FFFFFF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47315585"/>
                  </a:ext>
                </a:extLst>
              </a:tr>
              <a:tr h="299642">
                <a:tc>
                  <a:txBody>
                    <a:bodyPr/>
                    <a:lstStyle/>
                    <a:p>
                      <a:r>
                        <a:rPr lang="en-ID" sz="1100">
                          <a:solidFill>
                            <a:schemeClr val="tx1"/>
                          </a:solidFill>
                          <a:latin typeface="Aptos Narrow" panose="020B0004020202020204" pitchFamily="34" charset="0"/>
                        </a:rPr>
                        <a:t>Jasa Tenaga Ahli Daya Programmer (Rate: 10.000.000/Bulan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D" sz="1100">
                          <a:solidFill>
                            <a:schemeClr val="tx1"/>
                          </a:solidFill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D" sz="1100">
                          <a:solidFill>
                            <a:schemeClr val="tx1"/>
                          </a:solidFill>
                          <a:latin typeface="Aptos Narrow" panose="020B0004020202020204" pitchFamily="34" charset="0"/>
                        </a:rPr>
                        <a:t>Org/Tahu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D" sz="1100">
                          <a:solidFill>
                            <a:schemeClr val="tx1"/>
                          </a:solidFill>
                          <a:latin typeface="Aptos Narrow" panose="020B0004020202020204" pitchFamily="34" charset="0"/>
                        </a:rPr>
                        <a:t>Rp. 216.000.000,-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58941868"/>
                  </a:ext>
                </a:extLst>
              </a:tr>
              <a:tr h="299642">
                <a:tc>
                  <a:txBody>
                    <a:bodyPr/>
                    <a:lstStyle/>
                    <a:p>
                      <a:r>
                        <a:rPr lang="en-US" sz="1100">
                          <a:solidFill>
                            <a:schemeClr val="tx1"/>
                          </a:solidFill>
                          <a:latin typeface="Aptos Narrow" panose="020B0004020202020204" pitchFamily="34" charset="0"/>
                        </a:rPr>
                        <a:t>Programming Device (Laptop </a:t>
                      </a:r>
                      <a:r>
                        <a:rPr lang="en-US" sz="1100" err="1">
                          <a:solidFill>
                            <a:schemeClr val="tx1"/>
                          </a:solidFill>
                          <a:latin typeface="Aptos Narrow" panose="020B0004020202020204" pitchFamily="34" charset="0"/>
                        </a:rPr>
                        <a:t>dll</a:t>
                      </a:r>
                      <a:r>
                        <a:rPr lang="en-US" sz="1100">
                          <a:solidFill>
                            <a:schemeClr val="tx1"/>
                          </a:solidFill>
                          <a:latin typeface="Aptos Narrow" panose="020B0004020202020204" pitchFamily="34" charset="0"/>
                        </a:rPr>
                        <a:t>.)</a:t>
                      </a:r>
                      <a:endParaRPr lang="en-ID" sz="1100">
                        <a:solidFill>
                          <a:schemeClr val="tx1"/>
                        </a:solidFill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>
                          <a:solidFill>
                            <a:schemeClr val="tx1"/>
                          </a:solidFill>
                          <a:latin typeface="Aptos Narrow" panose="020B0004020202020204" pitchFamily="34" charset="0"/>
                        </a:rPr>
                        <a:t>2</a:t>
                      </a:r>
                      <a:endParaRPr lang="en-ID" sz="1100">
                        <a:solidFill>
                          <a:schemeClr val="tx1"/>
                        </a:solidFill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err="1">
                          <a:solidFill>
                            <a:schemeClr val="tx1"/>
                          </a:solidFill>
                          <a:latin typeface="Aptos Narrow" panose="020B0004020202020204" pitchFamily="34" charset="0"/>
                        </a:rPr>
                        <a:t>Ea</a:t>
                      </a:r>
                      <a:endParaRPr lang="en-ID" sz="1100">
                        <a:solidFill>
                          <a:schemeClr val="tx1"/>
                        </a:solidFill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>
                          <a:solidFill>
                            <a:schemeClr val="tx1"/>
                          </a:solidFill>
                          <a:latin typeface="Aptos Narrow" panose="020B0004020202020204" pitchFamily="34" charset="0"/>
                        </a:rPr>
                        <a:t>Rp. 40.000.000,-</a:t>
                      </a:r>
                      <a:endParaRPr lang="en-ID" sz="1100">
                        <a:solidFill>
                          <a:schemeClr val="tx1"/>
                        </a:solidFill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41580002"/>
                  </a:ext>
                </a:extLst>
              </a:tr>
              <a:tr h="299642">
                <a:tc>
                  <a:txBody>
                    <a:bodyPr/>
                    <a:lstStyle/>
                    <a:p>
                      <a:r>
                        <a:rPr lang="en-US" sz="1100">
                          <a:solidFill>
                            <a:schemeClr val="tx1"/>
                          </a:solidFill>
                          <a:latin typeface="Aptos Narrow" panose="020B0004020202020204" pitchFamily="34" charset="0"/>
                        </a:rPr>
                        <a:t>Web Prototyping</a:t>
                      </a:r>
                      <a:endParaRPr lang="en-ID" sz="1100">
                        <a:solidFill>
                          <a:schemeClr val="tx1"/>
                        </a:solidFill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>
                          <a:solidFill>
                            <a:schemeClr val="tx1"/>
                          </a:solidFill>
                          <a:latin typeface="Aptos Narrow" panose="020B0004020202020204" pitchFamily="34" charset="0"/>
                        </a:rPr>
                        <a:t>1</a:t>
                      </a:r>
                      <a:endParaRPr lang="en-ID" sz="1100">
                        <a:solidFill>
                          <a:schemeClr val="tx1"/>
                        </a:solidFill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>
                          <a:solidFill>
                            <a:schemeClr val="tx1"/>
                          </a:solidFill>
                          <a:latin typeface="Aptos Narrow" panose="020B0004020202020204" pitchFamily="34" charset="0"/>
                        </a:rPr>
                        <a:t>Ea</a:t>
                      </a:r>
                      <a:endParaRPr lang="en-ID" sz="1100">
                        <a:solidFill>
                          <a:schemeClr val="tx1"/>
                        </a:solidFill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>
                          <a:solidFill>
                            <a:schemeClr val="tx1"/>
                          </a:solidFill>
                          <a:latin typeface="Aptos Narrow" panose="020B0004020202020204" pitchFamily="34" charset="0"/>
                        </a:rPr>
                        <a:t>Rp 0,-</a:t>
                      </a:r>
                      <a:endParaRPr lang="en-ID" sz="1100">
                        <a:solidFill>
                          <a:schemeClr val="tx1"/>
                        </a:solidFill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89246924"/>
                  </a:ext>
                </a:extLst>
              </a:tr>
              <a:tr h="255980">
                <a:tc>
                  <a:txBody>
                    <a:bodyPr/>
                    <a:lstStyle/>
                    <a:p>
                      <a:r>
                        <a:rPr lang="en-ID" sz="1100">
                          <a:solidFill>
                            <a:schemeClr val="tx1"/>
                          </a:solidFill>
                          <a:latin typeface="Aptos Narrow" panose="020B0004020202020204" pitchFamily="34" charset="0"/>
                        </a:rPr>
                        <a:t>Web Test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D" sz="1100">
                          <a:solidFill>
                            <a:schemeClr val="tx1"/>
                          </a:solidFill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D" sz="1100">
                          <a:solidFill>
                            <a:schemeClr val="tx1"/>
                          </a:solidFill>
                          <a:latin typeface="Aptos Narrow" panose="020B0004020202020204" pitchFamily="34" charset="0"/>
                        </a:rPr>
                        <a:t>E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>
                          <a:solidFill>
                            <a:schemeClr val="tx1"/>
                          </a:solidFill>
                          <a:latin typeface="Aptos Narrow" panose="020B0004020202020204" pitchFamily="34" charset="0"/>
                        </a:rPr>
                        <a:t>Rp 0,-</a:t>
                      </a:r>
                      <a:endParaRPr lang="en-ID" sz="1100">
                        <a:solidFill>
                          <a:schemeClr val="tx1"/>
                        </a:solidFill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0041571"/>
                  </a:ext>
                </a:extLst>
              </a:tr>
              <a:tr h="299642">
                <a:tc>
                  <a:txBody>
                    <a:bodyPr/>
                    <a:lstStyle/>
                    <a:p>
                      <a:r>
                        <a:rPr lang="en-US" sz="1100">
                          <a:solidFill>
                            <a:schemeClr val="tx1"/>
                          </a:solidFill>
                          <a:latin typeface="Aptos Narrow" panose="020B0004020202020204" pitchFamily="34" charset="0"/>
                        </a:rPr>
                        <a:t>Web Development</a:t>
                      </a:r>
                      <a:endParaRPr lang="en-ID" sz="1100">
                        <a:solidFill>
                          <a:schemeClr val="tx1"/>
                        </a:solidFill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>
                          <a:solidFill>
                            <a:schemeClr val="tx1"/>
                          </a:solidFill>
                          <a:latin typeface="Aptos Narrow" panose="020B0004020202020204" pitchFamily="34" charset="0"/>
                        </a:rPr>
                        <a:t>1</a:t>
                      </a:r>
                      <a:endParaRPr lang="en-ID" sz="1100">
                        <a:solidFill>
                          <a:schemeClr val="tx1"/>
                        </a:solidFill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>
                          <a:solidFill>
                            <a:schemeClr val="tx1"/>
                          </a:solidFill>
                          <a:latin typeface="Aptos Narrow" panose="020B0004020202020204" pitchFamily="34" charset="0"/>
                        </a:rPr>
                        <a:t>Ea</a:t>
                      </a:r>
                      <a:endParaRPr lang="en-ID" sz="1100">
                        <a:solidFill>
                          <a:schemeClr val="tx1"/>
                        </a:solidFill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>
                          <a:solidFill>
                            <a:schemeClr val="tx1"/>
                          </a:solidFill>
                          <a:latin typeface="Aptos Narrow" panose="020B0004020202020204" pitchFamily="34" charset="0"/>
                        </a:rPr>
                        <a:t>Rp 0,-</a:t>
                      </a:r>
                      <a:endParaRPr lang="en-ID" sz="1100">
                        <a:solidFill>
                          <a:schemeClr val="tx1"/>
                        </a:solidFill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8193115"/>
                  </a:ext>
                </a:extLst>
              </a:tr>
              <a:tr h="299642">
                <a:tc>
                  <a:txBody>
                    <a:bodyPr/>
                    <a:lstStyle/>
                    <a:p>
                      <a:r>
                        <a:rPr lang="en-US" sz="1100">
                          <a:solidFill>
                            <a:schemeClr val="tx1"/>
                          </a:solidFill>
                          <a:latin typeface="Aptos Narrow" panose="020B0004020202020204" pitchFamily="34" charset="0"/>
                        </a:rPr>
                        <a:t>Web Maintenance </a:t>
                      </a:r>
                      <a:endParaRPr lang="en-ID" sz="1100">
                        <a:solidFill>
                          <a:schemeClr val="tx1"/>
                        </a:solidFill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>
                          <a:solidFill>
                            <a:schemeClr val="tx1"/>
                          </a:solidFill>
                          <a:latin typeface="Aptos Narrow" panose="020B0004020202020204" pitchFamily="34" charset="0"/>
                        </a:rPr>
                        <a:t>1</a:t>
                      </a:r>
                      <a:endParaRPr lang="en-ID" sz="1100">
                        <a:solidFill>
                          <a:schemeClr val="tx1"/>
                        </a:solidFill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err="1">
                          <a:solidFill>
                            <a:schemeClr val="tx1"/>
                          </a:solidFill>
                          <a:latin typeface="Aptos Narrow" panose="020B0004020202020204" pitchFamily="34" charset="0"/>
                        </a:rPr>
                        <a:t>Ea</a:t>
                      </a:r>
                      <a:endParaRPr lang="en-ID" sz="1100">
                        <a:solidFill>
                          <a:schemeClr val="tx1"/>
                        </a:solidFill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>
                          <a:solidFill>
                            <a:schemeClr val="tx1"/>
                          </a:solidFill>
                          <a:latin typeface="Aptos Narrow" panose="020B0004020202020204" pitchFamily="34" charset="0"/>
                        </a:rPr>
                        <a:t>Rp 0,-</a:t>
                      </a:r>
                      <a:endParaRPr lang="en-ID" sz="1100">
                        <a:solidFill>
                          <a:schemeClr val="tx1"/>
                        </a:solidFill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54542734"/>
                  </a:ext>
                </a:extLst>
              </a:tr>
            </a:tbl>
          </a:graphicData>
        </a:graphic>
      </p:graphicFrame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7AA6EAF6-C55A-68F4-BB9D-88C2D62EB21E}"/>
              </a:ext>
            </a:extLst>
          </p:cNvPr>
          <p:cNvSpPr/>
          <p:nvPr/>
        </p:nvSpPr>
        <p:spPr>
          <a:xfrm>
            <a:off x="9448800" y="1017100"/>
            <a:ext cx="2353800" cy="2883832"/>
          </a:xfrm>
          <a:prstGeom prst="roundRect">
            <a:avLst/>
          </a:prstGeom>
          <a:solidFill>
            <a:srgbClr val="E9EBF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en-US" sz="1100" err="1">
                <a:solidFill>
                  <a:schemeClr val="tx1"/>
                </a:solidFill>
              </a:rPr>
              <a:t>Perbandingan</a:t>
            </a:r>
            <a:r>
              <a:rPr lang="en-US" sz="1100">
                <a:solidFill>
                  <a:schemeClr val="tx1"/>
                </a:solidFill>
              </a:rPr>
              <a:t> </a:t>
            </a:r>
            <a:r>
              <a:rPr lang="en-US" sz="1100" err="1">
                <a:solidFill>
                  <a:schemeClr val="tx1"/>
                </a:solidFill>
              </a:rPr>
              <a:t>estimasi</a:t>
            </a:r>
            <a:r>
              <a:rPr lang="en-US" sz="1100">
                <a:solidFill>
                  <a:schemeClr val="tx1"/>
                </a:solidFill>
              </a:rPr>
              <a:t> </a:t>
            </a:r>
            <a:r>
              <a:rPr lang="en-US" sz="1100" err="1">
                <a:solidFill>
                  <a:schemeClr val="tx1"/>
                </a:solidFill>
              </a:rPr>
              <a:t>biaya</a:t>
            </a:r>
            <a:r>
              <a:rPr lang="en-US" sz="1100">
                <a:solidFill>
                  <a:schemeClr val="tx1"/>
                </a:solidFill>
              </a:rPr>
              <a:t> </a:t>
            </a:r>
            <a:r>
              <a:rPr lang="en-US" sz="1100" err="1">
                <a:solidFill>
                  <a:schemeClr val="tx1"/>
                </a:solidFill>
              </a:rPr>
              <a:t>menunjukkan</a:t>
            </a:r>
            <a:r>
              <a:rPr lang="en-US" sz="1100">
                <a:solidFill>
                  <a:schemeClr val="tx1"/>
                </a:solidFill>
              </a:rPr>
              <a:t> </a:t>
            </a:r>
            <a:r>
              <a:rPr lang="en-US" sz="1100" err="1">
                <a:solidFill>
                  <a:schemeClr val="tx1"/>
                </a:solidFill>
              </a:rPr>
              <a:t>bahwa</a:t>
            </a:r>
            <a:r>
              <a:rPr lang="en-US" sz="1100">
                <a:solidFill>
                  <a:schemeClr val="tx1"/>
                </a:solidFill>
              </a:rPr>
              <a:t> masing-masing </a:t>
            </a:r>
            <a:r>
              <a:rPr lang="en-US" sz="1100" err="1">
                <a:solidFill>
                  <a:schemeClr val="tx1"/>
                </a:solidFill>
              </a:rPr>
              <a:t>alternatif</a:t>
            </a:r>
            <a:r>
              <a:rPr lang="en-US" sz="1100">
                <a:solidFill>
                  <a:schemeClr val="tx1"/>
                </a:solidFill>
              </a:rPr>
              <a:t> </a:t>
            </a:r>
            <a:r>
              <a:rPr lang="en-US" sz="1100" err="1">
                <a:solidFill>
                  <a:schemeClr val="tx1"/>
                </a:solidFill>
              </a:rPr>
              <a:t>memiliki</a:t>
            </a:r>
            <a:r>
              <a:rPr lang="en-US" sz="1100">
                <a:solidFill>
                  <a:schemeClr val="tx1"/>
                </a:solidFill>
              </a:rPr>
              <a:t> </a:t>
            </a:r>
            <a:r>
              <a:rPr lang="en-US" sz="1100" err="1">
                <a:solidFill>
                  <a:schemeClr val="tx1"/>
                </a:solidFill>
              </a:rPr>
              <a:t>nilai</a:t>
            </a:r>
            <a:r>
              <a:rPr lang="en-US" sz="1100">
                <a:solidFill>
                  <a:schemeClr val="tx1"/>
                </a:solidFill>
              </a:rPr>
              <a:t> yang </a:t>
            </a:r>
            <a:r>
              <a:rPr lang="en-US" sz="1100" err="1">
                <a:solidFill>
                  <a:schemeClr val="tx1"/>
                </a:solidFill>
              </a:rPr>
              <a:t>relatif</a:t>
            </a:r>
            <a:r>
              <a:rPr lang="en-US" sz="1100">
                <a:solidFill>
                  <a:schemeClr val="tx1"/>
                </a:solidFill>
              </a:rPr>
              <a:t> </a:t>
            </a:r>
            <a:r>
              <a:rPr lang="en-US" sz="1100" err="1">
                <a:solidFill>
                  <a:schemeClr val="tx1"/>
                </a:solidFill>
              </a:rPr>
              <a:t>sebanding</a:t>
            </a:r>
            <a:r>
              <a:rPr lang="en-US" sz="1100">
                <a:solidFill>
                  <a:schemeClr val="tx1"/>
                </a:solidFill>
              </a:rPr>
              <a:t>. </a:t>
            </a:r>
            <a:r>
              <a:rPr lang="en-US" sz="1100" err="1">
                <a:solidFill>
                  <a:schemeClr val="tx1"/>
                </a:solidFill>
              </a:rPr>
              <a:t>Namun</a:t>
            </a:r>
            <a:r>
              <a:rPr lang="en-US" sz="1100">
                <a:solidFill>
                  <a:schemeClr val="tx1"/>
                </a:solidFill>
              </a:rPr>
              <a:t>, </a:t>
            </a:r>
            <a:r>
              <a:rPr lang="en-US" sz="1100" err="1">
                <a:solidFill>
                  <a:schemeClr val="tx1"/>
                </a:solidFill>
              </a:rPr>
              <a:t>karena</a:t>
            </a:r>
            <a:r>
              <a:rPr lang="en-US" sz="1100">
                <a:solidFill>
                  <a:schemeClr val="tx1"/>
                </a:solidFill>
              </a:rPr>
              <a:t> </a:t>
            </a:r>
            <a:r>
              <a:rPr lang="en-US" sz="1100" err="1">
                <a:solidFill>
                  <a:schemeClr val="tx1"/>
                </a:solidFill>
              </a:rPr>
              <a:t>satu</a:t>
            </a:r>
            <a:r>
              <a:rPr lang="en-US" sz="1100">
                <a:solidFill>
                  <a:schemeClr val="tx1"/>
                </a:solidFill>
              </a:rPr>
              <a:t> </a:t>
            </a:r>
            <a:r>
              <a:rPr lang="en-US" sz="1100" err="1">
                <a:solidFill>
                  <a:schemeClr val="tx1"/>
                </a:solidFill>
              </a:rPr>
              <a:t>solusi</a:t>
            </a:r>
            <a:r>
              <a:rPr lang="en-US" sz="1100">
                <a:solidFill>
                  <a:schemeClr val="tx1"/>
                </a:solidFill>
              </a:rPr>
              <a:t> </a:t>
            </a:r>
            <a:r>
              <a:rPr lang="en-US" sz="1100" err="1">
                <a:solidFill>
                  <a:schemeClr val="tx1"/>
                </a:solidFill>
              </a:rPr>
              <a:t>dapat</a:t>
            </a:r>
            <a:r>
              <a:rPr lang="en-US" sz="1100">
                <a:solidFill>
                  <a:schemeClr val="tx1"/>
                </a:solidFill>
              </a:rPr>
              <a:t> </a:t>
            </a:r>
            <a:r>
              <a:rPr lang="en-US" sz="1100" err="1">
                <a:solidFill>
                  <a:schemeClr val="tx1"/>
                </a:solidFill>
              </a:rPr>
              <a:t>mengatasi</a:t>
            </a:r>
            <a:r>
              <a:rPr lang="en-US" sz="1100">
                <a:solidFill>
                  <a:schemeClr val="tx1"/>
                </a:solidFill>
              </a:rPr>
              <a:t> </a:t>
            </a:r>
            <a:r>
              <a:rPr lang="en-US" sz="1100" err="1">
                <a:solidFill>
                  <a:schemeClr val="tx1"/>
                </a:solidFill>
              </a:rPr>
              <a:t>ketiga</a:t>
            </a:r>
            <a:r>
              <a:rPr lang="en-US" sz="1100">
                <a:solidFill>
                  <a:schemeClr val="tx1"/>
                </a:solidFill>
              </a:rPr>
              <a:t> </a:t>
            </a:r>
            <a:r>
              <a:rPr lang="en-US" sz="1100" err="1">
                <a:solidFill>
                  <a:schemeClr val="tx1"/>
                </a:solidFill>
              </a:rPr>
              <a:t>permasalahan</a:t>
            </a:r>
            <a:r>
              <a:rPr lang="en-US" sz="1100">
                <a:solidFill>
                  <a:schemeClr val="tx1"/>
                </a:solidFill>
              </a:rPr>
              <a:t> </a:t>
            </a:r>
            <a:r>
              <a:rPr lang="en-US" sz="1100" err="1">
                <a:solidFill>
                  <a:schemeClr val="tx1"/>
                </a:solidFill>
              </a:rPr>
              <a:t>sekaligus</a:t>
            </a:r>
            <a:r>
              <a:rPr lang="en-US" sz="1100">
                <a:solidFill>
                  <a:schemeClr val="tx1"/>
                </a:solidFill>
              </a:rPr>
              <a:t>, </a:t>
            </a:r>
            <a:r>
              <a:rPr lang="en-US" sz="1100" err="1">
                <a:solidFill>
                  <a:schemeClr val="tx1"/>
                </a:solidFill>
              </a:rPr>
              <a:t>maka</a:t>
            </a:r>
            <a:r>
              <a:rPr lang="en-US" sz="1100">
                <a:solidFill>
                  <a:schemeClr val="tx1"/>
                </a:solidFill>
              </a:rPr>
              <a:t> </a:t>
            </a:r>
            <a:r>
              <a:rPr lang="en-US" sz="1100" err="1">
                <a:solidFill>
                  <a:schemeClr val="tx1"/>
                </a:solidFill>
              </a:rPr>
              <a:t>dipilih</a:t>
            </a:r>
            <a:r>
              <a:rPr lang="en-US" sz="1100">
                <a:solidFill>
                  <a:schemeClr val="tx1"/>
                </a:solidFill>
              </a:rPr>
              <a:t> </a:t>
            </a:r>
            <a:r>
              <a:rPr lang="en-US" sz="1100" err="1">
                <a:solidFill>
                  <a:schemeClr val="tx1"/>
                </a:solidFill>
              </a:rPr>
              <a:t>penerapan</a:t>
            </a:r>
            <a:r>
              <a:rPr lang="en-US" sz="1100">
                <a:solidFill>
                  <a:schemeClr val="tx1"/>
                </a:solidFill>
              </a:rPr>
              <a:t> </a:t>
            </a:r>
            <a:r>
              <a:rPr lang="en-US" sz="1100" err="1">
                <a:solidFill>
                  <a:schemeClr val="tx1"/>
                </a:solidFill>
              </a:rPr>
              <a:t>Sistem</a:t>
            </a:r>
            <a:r>
              <a:rPr lang="en-US" sz="1100">
                <a:solidFill>
                  <a:schemeClr val="tx1"/>
                </a:solidFill>
              </a:rPr>
              <a:t> </a:t>
            </a:r>
            <a:r>
              <a:rPr lang="en-US" sz="1100" err="1">
                <a:solidFill>
                  <a:schemeClr val="tx1"/>
                </a:solidFill>
              </a:rPr>
              <a:t>Manajemen</a:t>
            </a:r>
            <a:r>
              <a:rPr lang="en-US" sz="1100">
                <a:solidFill>
                  <a:schemeClr val="tx1"/>
                </a:solidFill>
              </a:rPr>
              <a:t> Data Inspeksi (IDMS). Jika </a:t>
            </a:r>
            <a:r>
              <a:rPr lang="en-US" sz="1100" err="1">
                <a:solidFill>
                  <a:schemeClr val="tx1"/>
                </a:solidFill>
              </a:rPr>
              <a:t>setiap</a:t>
            </a:r>
            <a:r>
              <a:rPr lang="en-US" sz="1100">
                <a:solidFill>
                  <a:schemeClr val="tx1"/>
                </a:solidFill>
              </a:rPr>
              <a:t> </a:t>
            </a:r>
            <a:r>
              <a:rPr lang="en-US" sz="1100" err="1">
                <a:solidFill>
                  <a:schemeClr val="tx1"/>
                </a:solidFill>
              </a:rPr>
              <a:t>masalah</a:t>
            </a:r>
            <a:r>
              <a:rPr lang="en-US" sz="1100">
                <a:solidFill>
                  <a:schemeClr val="tx1"/>
                </a:solidFill>
              </a:rPr>
              <a:t> </a:t>
            </a:r>
            <a:r>
              <a:rPr lang="en-US" sz="1100" err="1">
                <a:solidFill>
                  <a:schemeClr val="tx1"/>
                </a:solidFill>
              </a:rPr>
              <a:t>diselesaikan</a:t>
            </a:r>
            <a:r>
              <a:rPr lang="en-US" sz="1100">
                <a:solidFill>
                  <a:schemeClr val="tx1"/>
                </a:solidFill>
              </a:rPr>
              <a:t> </a:t>
            </a:r>
            <a:r>
              <a:rPr lang="en-US" sz="1100" err="1">
                <a:solidFill>
                  <a:schemeClr val="tx1"/>
                </a:solidFill>
              </a:rPr>
              <a:t>secara</a:t>
            </a:r>
            <a:r>
              <a:rPr lang="en-US" sz="1100">
                <a:solidFill>
                  <a:schemeClr val="tx1"/>
                </a:solidFill>
              </a:rPr>
              <a:t> </a:t>
            </a:r>
            <a:r>
              <a:rPr lang="en-US" sz="1100" err="1">
                <a:solidFill>
                  <a:schemeClr val="tx1"/>
                </a:solidFill>
              </a:rPr>
              <a:t>terpisah</a:t>
            </a:r>
            <a:r>
              <a:rPr lang="en-US" sz="1100">
                <a:solidFill>
                  <a:schemeClr val="tx1"/>
                </a:solidFill>
              </a:rPr>
              <a:t>, total </a:t>
            </a:r>
            <a:r>
              <a:rPr lang="en-US" sz="1100" err="1">
                <a:solidFill>
                  <a:schemeClr val="tx1"/>
                </a:solidFill>
              </a:rPr>
              <a:t>biaya</a:t>
            </a:r>
            <a:r>
              <a:rPr lang="en-US" sz="1100">
                <a:solidFill>
                  <a:schemeClr val="tx1"/>
                </a:solidFill>
              </a:rPr>
              <a:t> </a:t>
            </a:r>
            <a:r>
              <a:rPr lang="en-US" sz="1100" err="1">
                <a:solidFill>
                  <a:schemeClr val="tx1"/>
                </a:solidFill>
              </a:rPr>
              <a:t>mencapai</a:t>
            </a:r>
            <a:r>
              <a:rPr lang="en-US" sz="1100">
                <a:solidFill>
                  <a:schemeClr val="tx1"/>
                </a:solidFill>
              </a:rPr>
              <a:t> </a:t>
            </a:r>
            <a:r>
              <a:rPr lang="en-US" sz="1100" b="1">
                <a:solidFill>
                  <a:schemeClr val="tx1"/>
                </a:solidFill>
              </a:rPr>
              <a:t>Rp 978.000.000,-</a:t>
            </a:r>
            <a:r>
              <a:rPr lang="en-US" sz="1100">
                <a:solidFill>
                  <a:schemeClr val="tx1"/>
                </a:solidFill>
              </a:rPr>
              <a:t>, </a:t>
            </a:r>
            <a:r>
              <a:rPr lang="en-US" sz="1100" err="1">
                <a:solidFill>
                  <a:schemeClr val="tx1"/>
                </a:solidFill>
              </a:rPr>
              <a:t>sedangkan</a:t>
            </a:r>
            <a:r>
              <a:rPr lang="en-US" sz="1100">
                <a:solidFill>
                  <a:schemeClr val="tx1"/>
                </a:solidFill>
              </a:rPr>
              <a:t> </a:t>
            </a:r>
            <a:r>
              <a:rPr lang="en-US" sz="1100" err="1">
                <a:solidFill>
                  <a:schemeClr val="tx1"/>
                </a:solidFill>
              </a:rPr>
              <a:t>dengan</a:t>
            </a:r>
            <a:r>
              <a:rPr lang="en-US" sz="1100">
                <a:solidFill>
                  <a:schemeClr val="tx1"/>
                </a:solidFill>
              </a:rPr>
              <a:t> IDMS </a:t>
            </a:r>
            <a:r>
              <a:rPr lang="en-US" sz="1100" err="1">
                <a:solidFill>
                  <a:schemeClr val="tx1"/>
                </a:solidFill>
              </a:rPr>
              <a:t>hanya</a:t>
            </a:r>
            <a:r>
              <a:rPr lang="en-US" sz="1100">
                <a:solidFill>
                  <a:schemeClr val="tx1"/>
                </a:solidFill>
              </a:rPr>
              <a:t> Rp </a:t>
            </a:r>
            <a:r>
              <a:rPr lang="en-US" sz="1100" b="1">
                <a:solidFill>
                  <a:schemeClr val="tx1"/>
                </a:solidFill>
              </a:rPr>
              <a:t>256.000.000,-</a:t>
            </a:r>
            <a:r>
              <a:rPr lang="en-US" sz="1100">
                <a:solidFill>
                  <a:schemeClr val="tx1"/>
                </a:solidFill>
              </a:rPr>
              <a:t>, </a:t>
            </a:r>
            <a:r>
              <a:rPr lang="en-US" sz="1100" err="1">
                <a:solidFill>
                  <a:schemeClr val="tx1"/>
                </a:solidFill>
              </a:rPr>
              <a:t>sehingga</a:t>
            </a:r>
            <a:r>
              <a:rPr lang="en-US" sz="1100">
                <a:solidFill>
                  <a:schemeClr val="tx1"/>
                </a:solidFill>
              </a:rPr>
              <a:t> </a:t>
            </a:r>
            <a:r>
              <a:rPr lang="en-US" sz="1100" err="1">
                <a:solidFill>
                  <a:schemeClr val="tx1"/>
                </a:solidFill>
              </a:rPr>
              <a:t>menghasilkan</a:t>
            </a:r>
            <a:r>
              <a:rPr lang="en-US" sz="1100">
                <a:solidFill>
                  <a:schemeClr val="tx1"/>
                </a:solidFill>
              </a:rPr>
              <a:t> </a:t>
            </a:r>
            <a:r>
              <a:rPr lang="en-US" sz="1100" err="1">
                <a:solidFill>
                  <a:schemeClr val="tx1"/>
                </a:solidFill>
              </a:rPr>
              <a:t>efisiensi</a:t>
            </a:r>
            <a:r>
              <a:rPr lang="en-US" sz="1100">
                <a:solidFill>
                  <a:schemeClr val="tx1"/>
                </a:solidFill>
              </a:rPr>
              <a:t> </a:t>
            </a:r>
            <a:r>
              <a:rPr lang="en-US" sz="1100" err="1">
                <a:solidFill>
                  <a:schemeClr val="tx1"/>
                </a:solidFill>
              </a:rPr>
              <a:t>sebesar</a:t>
            </a:r>
            <a:r>
              <a:rPr lang="en-US" sz="1100">
                <a:solidFill>
                  <a:schemeClr val="tx1"/>
                </a:solidFill>
              </a:rPr>
              <a:t>  </a:t>
            </a:r>
            <a:r>
              <a:rPr lang="en-US" sz="1100" b="1">
                <a:solidFill>
                  <a:schemeClr val="tx1"/>
                </a:solidFill>
              </a:rPr>
              <a:t>Rp 722.000.000,-</a:t>
            </a:r>
            <a:r>
              <a:rPr lang="en-US" sz="1100">
                <a:solidFill>
                  <a:schemeClr val="tx1"/>
                </a:solidFill>
              </a:rPr>
              <a:t>.</a:t>
            </a:r>
            <a:endParaRPr lang="en-ID" sz="1100">
              <a:solidFill>
                <a:schemeClr val="tx1"/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91BC5317-F9CB-CB7B-A9CA-F75A87608945}"/>
              </a:ext>
            </a:extLst>
          </p:cNvPr>
          <p:cNvSpPr txBox="1"/>
          <p:nvPr/>
        </p:nvSpPr>
        <p:spPr>
          <a:xfrm>
            <a:off x="848860" y="315144"/>
            <a:ext cx="10482511" cy="56188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sz="2800" b="1">
                <a:solidFill>
                  <a:srgbClr val="0C345B"/>
                </a:solidFill>
                <a:latin typeface="Futura Medium" panose="020B0602020204020303" pitchFamily="34" charset="-79"/>
                <a:cs typeface="FUTURA MEDIUM" panose="020B0602020204020303" pitchFamily="34" charset="-79"/>
              </a:rPr>
              <a:t>Alternatif &amp; Prioritas Solusi</a:t>
            </a:r>
            <a:endParaRPr lang="en-US" sz="2800" dirty="0">
              <a:solidFill>
                <a:srgbClr val="0C345B"/>
              </a:solidFill>
              <a:latin typeface="Futura Medium" panose="020B0602020204020303" pitchFamily="34" charset="-79"/>
              <a:cs typeface="Futura Medium" panose="020B0602020204020303" pitchFamily="34" charset="-79"/>
            </a:endParaRPr>
          </a:p>
        </p:txBody>
      </p:sp>
    </p:spTree>
    <p:extLst>
      <p:ext uri="{BB962C8B-B14F-4D97-AF65-F5344CB8AC3E}">
        <p14:creationId xmlns:p14="http://schemas.microsoft.com/office/powerpoint/2010/main" val="152081136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55EF88B2-18A0-0FB9-FB49-6299609BC21F}"/>
              </a:ext>
            </a:extLst>
          </p:cNvPr>
          <p:cNvGrpSpPr/>
          <p:nvPr/>
        </p:nvGrpSpPr>
        <p:grpSpPr>
          <a:xfrm>
            <a:off x="0" y="15914"/>
            <a:ext cx="12197884" cy="6858000"/>
            <a:chOff x="0" y="0"/>
            <a:chExt cx="12197884" cy="6858000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75D7BFA9-3027-512E-CC96-771D474A02FE}"/>
                </a:ext>
              </a:extLst>
            </p:cNvPr>
            <p:cNvSpPr/>
            <p:nvPr/>
          </p:nvSpPr>
          <p:spPr>
            <a:xfrm>
              <a:off x="0" y="0"/>
              <a:ext cx="12197884" cy="6858000"/>
            </a:xfrm>
            <a:prstGeom prst="rect">
              <a:avLst/>
            </a:prstGeom>
            <a:gradFill>
              <a:gsLst>
                <a:gs pos="0">
                  <a:schemeClr val="accent1">
                    <a:lumMod val="5000"/>
                    <a:lumOff val="95000"/>
                    <a:alpha val="0"/>
                  </a:schemeClr>
                </a:gs>
                <a:gs pos="97000">
                  <a:srgbClr val="A6E1BD">
                    <a:alpha val="42115"/>
                  </a:srgbClr>
                </a:gs>
              </a:gsLst>
              <a:lin ang="4200000" scaled="0"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cs typeface="Futura Medium" panose="020B0602020204020303"/>
              </a:endParaRPr>
            </a:p>
          </p:txBody>
        </p:sp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18BF76DB-7741-B93C-2BCA-8793B05992D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0"/>
              <a:ext cx="12192000" cy="6858000"/>
            </a:xfrm>
            <a:prstGeom prst="rect">
              <a:avLst/>
            </a:prstGeom>
          </p:spPr>
        </p:pic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180A1583-0277-DEBB-24BB-812107EA90C9}"/>
              </a:ext>
            </a:extLst>
          </p:cNvPr>
          <p:cNvSpPr txBox="1"/>
          <p:nvPr/>
        </p:nvSpPr>
        <p:spPr>
          <a:xfrm>
            <a:off x="848860" y="315144"/>
            <a:ext cx="10482511" cy="56188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sz="2800" b="1">
                <a:solidFill>
                  <a:srgbClr val="0C345B"/>
                </a:solidFill>
                <a:latin typeface="Futura Medium" panose="020B0602020204020303" pitchFamily="34" charset="-79"/>
                <a:cs typeface="FUTURA MEDIUM" panose="020B0602020204020303" pitchFamily="34" charset="-79"/>
              </a:rPr>
              <a:t>Alternatif &amp; Prioritas Solusi</a:t>
            </a:r>
            <a:endParaRPr lang="en-US" sz="2800" dirty="0">
              <a:solidFill>
                <a:srgbClr val="0C345B"/>
              </a:solidFill>
              <a:latin typeface="Futura Medium" panose="020B0602020204020303" pitchFamily="34" charset="-79"/>
              <a:cs typeface="Futura Medium" panose="020B0602020204020303" pitchFamily="34" charset="-79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2D35A7D-3886-02B8-C18C-5CBE1B4E81A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8760" y="1357078"/>
            <a:ext cx="6316073" cy="3221641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/>
            </a:solidFill>
          </a:ln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4B0D2CCE-F997-A440-C2DF-691A4278B04D}"/>
              </a:ext>
            </a:extLst>
          </p:cNvPr>
          <p:cNvGrpSpPr/>
          <p:nvPr/>
        </p:nvGrpSpPr>
        <p:grpSpPr>
          <a:xfrm>
            <a:off x="608412" y="1070032"/>
            <a:ext cx="6416421" cy="343081"/>
            <a:chOff x="6490624" y="1036663"/>
            <a:chExt cx="5352683" cy="343081"/>
          </a:xfrm>
        </p:grpSpPr>
        <p:sp>
          <p:nvSpPr>
            <p:cNvPr id="13" name="Title 1">
              <a:extLst>
                <a:ext uri="{FF2B5EF4-FFF2-40B4-BE49-F238E27FC236}">
                  <a16:creationId xmlns:a16="http://schemas.microsoft.com/office/drawing/2014/main" id="{BDC95248-E629-C1EC-0D71-5E010178336A}"/>
                </a:ext>
              </a:extLst>
            </p:cNvPr>
            <p:cNvSpPr txBox="1">
              <a:spLocks/>
            </p:cNvSpPr>
            <p:nvPr/>
          </p:nvSpPr>
          <p:spPr>
            <a:xfrm>
              <a:off x="6532362" y="1036663"/>
              <a:ext cx="5310945" cy="267796"/>
            </a:xfrm>
            <a:prstGeom prst="rect">
              <a:avLst/>
            </a:prstGeom>
            <a:solidFill>
              <a:srgbClr val="ED7D31"/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horz" anchor="ctr"/>
            <a:lstStyle>
              <a:defPPr>
                <a:defRPr lang="en-US"/>
              </a:defPPr>
              <a:lvl1pPr marL="0"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800" b="1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200">
                  <a:latin typeface="Aptos Narrow" panose="020B0004020202020204" pitchFamily="34" charset="0"/>
                  <a:cs typeface="Calibri" panose="020F0502020204030204" pitchFamily="34" charset="0"/>
                </a:rPr>
                <a:t>Design / Gambar Teknik / Flow Proses / Formula Solusi </a:t>
              </a:r>
              <a:r>
                <a:rPr lang="en-US" sz="1200" err="1">
                  <a:latin typeface="Aptos Narrow" panose="020B0004020202020204" pitchFamily="34" charset="0"/>
                  <a:cs typeface="Calibri" panose="020F0502020204030204" pitchFamily="34" charset="0"/>
                </a:rPr>
                <a:t>Terpilih</a:t>
              </a:r>
              <a:endParaRPr lang="en-US" sz="1200">
                <a:latin typeface="Aptos Narrow" panose="020B000402020202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4" name="Flowchart: Connector 13">
              <a:extLst>
                <a:ext uri="{FF2B5EF4-FFF2-40B4-BE49-F238E27FC236}">
                  <a16:creationId xmlns:a16="http://schemas.microsoft.com/office/drawing/2014/main" id="{DA78B8AC-2703-91FB-0434-E1F261EABF7A}"/>
                </a:ext>
              </a:extLst>
            </p:cNvPr>
            <p:cNvSpPr/>
            <p:nvPr/>
          </p:nvSpPr>
          <p:spPr>
            <a:xfrm>
              <a:off x="6490624" y="1251496"/>
              <a:ext cx="83475" cy="128248"/>
            </a:xfrm>
            <a:prstGeom prst="flowChartConnector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style>
            <a:lnRef idx="2">
              <a:schemeClr val="accent3">
                <a:shade val="15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ID"/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7E60B2F9-60F2-A1EC-597D-808AA2BA9C53}"/>
              </a:ext>
            </a:extLst>
          </p:cNvPr>
          <p:cNvGrpSpPr/>
          <p:nvPr/>
        </p:nvGrpSpPr>
        <p:grpSpPr>
          <a:xfrm>
            <a:off x="676674" y="4799899"/>
            <a:ext cx="4461683" cy="297561"/>
            <a:chOff x="6471175" y="1036663"/>
            <a:chExt cx="5372132" cy="297561"/>
          </a:xfrm>
        </p:grpSpPr>
        <p:sp>
          <p:nvSpPr>
            <p:cNvPr id="11" name="Title 1">
              <a:extLst>
                <a:ext uri="{FF2B5EF4-FFF2-40B4-BE49-F238E27FC236}">
                  <a16:creationId xmlns:a16="http://schemas.microsoft.com/office/drawing/2014/main" id="{7D342D2F-8E7D-2423-D247-DD7EA2AF3CBF}"/>
                </a:ext>
              </a:extLst>
            </p:cNvPr>
            <p:cNvSpPr txBox="1">
              <a:spLocks/>
            </p:cNvSpPr>
            <p:nvPr/>
          </p:nvSpPr>
          <p:spPr>
            <a:xfrm>
              <a:off x="6532362" y="1036663"/>
              <a:ext cx="5310945" cy="267796"/>
            </a:xfrm>
            <a:prstGeom prst="rect">
              <a:avLst/>
            </a:prstGeom>
            <a:solidFill>
              <a:srgbClr val="ED7D31"/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horz" anchor="ctr"/>
            <a:lstStyle>
              <a:defPPr>
                <a:defRPr lang="en-US"/>
              </a:defPPr>
              <a:lvl1pPr marL="0"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800" b="1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200" err="1">
                  <a:latin typeface="Aptos Narrow" panose="020B0004020202020204" pitchFamily="34" charset="0"/>
                  <a:cs typeface="Calibri" panose="020F0502020204030204" pitchFamily="34" charset="0"/>
                </a:rPr>
                <a:t>Rencana</a:t>
              </a:r>
              <a:r>
                <a:rPr lang="en-US" sz="1200">
                  <a:latin typeface="Aptos Narrow" panose="020B0004020202020204" pitchFamily="34" charset="0"/>
                  <a:cs typeface="Calibri" panose="020F0502020204030204" pitchFamily="34" charset="0"/>
                </a:rPr>
                <a:t> </a:t>
              </a:r>
              <a:r>
                <a:rPr lang="en-US" sz="1200" err="1">
                  <a:latin typeface="Aptos Narrow" panose="020B0004020202020204" pitchFamily="34" charset="0"/>
                  <a:cs typeface="Calibri" panose="020F0502020204030204" pitchFamily="34" charset="0"/>
                </a:rPr>
                <a:t>Pembuatan</a:t>
              </a:r>
              <a:r>
                <a:rPr lang="en-US" sz="1200">
                  <a:latin typeface="Aptos Narrow" panose="020B0004020202020204" pitchFamily="34" charset="0"/>
                  <a:cs typeface="Calibri" panose="020F0502020204030204" pitchFamily="34" charset="0"/>
                </a:rPr>
                <a:t> Metode/System/</a:t>
              </a:r>
              <a:r>
                <a:rPr lang="en-US" sz="1200" err="1">
                  <a:latin typeface="Aptos Narrow" panose="020B0004020202020204" pitchFamily="34" charset="0"/>
                  <a:cs typeface="Calibri" panose="020F0502020204030204" pitchFamily="34" charset="0"/>
                </a:rPr>
                <a:t>Fabrikasi</a:t>
              </a:r>
              <a:r>
                <a:rPr lang="en-US" sz="1200">
                  <a:latin typeface="Aptos Narrow" panose="020B0004020202020204" pitchFamily="34" charset="0"/>
                  <a:cs typeface="Calibri" panose="020F0502020204030204" pitchFamily="34" charset="0"/>
                </a:rPr>
                <a:t> Alat</a:t>
              </a:r>
            </a:p>
          </p:txBody>
        </p:sp>
        <p:sp>
          <p:nvSpPr>
            <p:cNvPr id="12" name="Flowchart: Connector 11">
              <a:extLst>
                <a:ext uri="{FF2B5EF4-FFF2-40B4-BE49-F238E27FC236}">
                  <a16:creationId xmlns:a16="http://schemas.microsoft.com/office/drawing/2014/main" id="{E1BB3A12-EF1C-B76C-C5D8-AAF82D87B0C8}"/>
                </a:ext>
              </a:extLst>
            </p:cNvPr>
            <p:cNvSpPr/>
            <p:nvPr/>
          </p:nvSpPr>
          <p:spPr>
            <a:xfrm>
              <a:off x="6471175" y="1238798"/>
              <a:ext cx="108750" cy="95426"/>
            </a:xfrm>
            <a:prstGeom prst="flowChartConnector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style>
            <a:lnRef idx="2">
              <a:schemeClr val="accent3">
                <a:shade val="15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ID"/>
            </a:p>
          </p:txBody>
        </p:sp>
      </p:grp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96123A5C-F7ED-4048-644E-76FF87123C3C}"/>
              </a:ext>
            </a:extLst>
          </p:cNvPr>
          <p:cNvSpPr/>
          <p:nvPr/>
        </p:nvSpPr>
        <p:spPr>
          <a:xfrm>
            <a:off x="744937" y="5086245"/>
            <a:ext cx="4393420" cy="930323"/>
          </a:xfrm>
          <a:prstGeom prst="roundRect">
            <a:avLst>
              <a:gd name="adj" fmla="val 0"/>
            </a:avLst>
          </a:prstGeom>
          <a:solidFill>
            <a:srgbClr val="E9EDF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ID" sz="1200">
                <a:solidFill>
                  <a:schemeClr val="tx1"/>
                </a:solidFill>
                <a:latin typeface="Aptos Narrow" panose="020B0004020202020204" pitchFamily="34" charset="0"/>
              </a:rPr>
              <a:t>Tools 	: </a:t>
            </a:r>
            <a:r>
              <a:rPr lang="en-ID" sz="1200" err="1">
                <a:solidFill>
                  <a:schemeClr val="tx1"/>
                </a:solidFill>
                <a:latin typeface="Aptos Narrow" panose="020B0004020202020204" pitchFamily="34" charset="0"/>
              </a:rPr>
              <a:t>VsCode</a:t>
            </a:r>
            <a:r>
              <a:rPr lang="en-ID" sz="1200">
                <a:solidFill>
                  <a:schemeClr val="tx1"/>
                </a:solidFill>
                <a:latin typeface="Aptos Narrow" panose="020B0004020202020204" pitchFamily="34" charset="0"/>
              </a:rPr>
              <a:t>, Postman, MAMP PRO, </a:t>
            </a:r>
            <a:r>
              <a:rPr lang="en-ID" sz="1200" err="1">
                <a:solidFill>
                  <a:schemeClr val="tx1"/>
                </a:solidFill>
                <a:latin typeface="Aptos Narrow" panose="020B0004020202020204" pitchFamily="34" charset="0"/>
              </a:rPr>
              <a:t>Drawio</a:t>
            </a:r>
            <a:r>
              <a:rPr lang="en-ID" sz="1200">
                <a:solidFill>
                  <a:schemeClr val="tx1"/>
                </a:solidFill>
                <a:latin typeface="Aptos Narrow" panose="020B0004020202020204" pitchFamily="34" charset="0"/>
              </a:rPr>
              <a:t>, Jira</a:t>
            </a:r>
          </a:p>
          <a:p>
            <a:r>
              <a:rPr lang="en-ID" sz="1200">
                <a:solidFill>
                  <a:schemeClr val="tx1"/>
                </a:solidFill>
                <a:latin typeface="Aptos Narrow" panose="020B0004020202020204" pitchFamily="34" charset="0"/>
              </a:rPr>
              <a:t>Language 	: Laravel, MySQL, </a:t>
            </a:r>
            <a:r>
              <a:rPr lang="en-ID" sz="1200" err="1">
                <a:solidFill>
                  <a:schemeClr val="tx1"/>
                </a:solidFill>
                <a:latin typeface="Aptos Narrow" panose="020B0004020202020204" pitchFamily="34" charset="0"/>
              </a:rPr>
              <a:t>ReactJs</a:t>
            </a:r>
            <a:r>
              <a:rPr lang="en-ID" sz="1200">
                <a:solidFill>
                  <a:schemeClr val="tx1"/>
                </a:solidFill>
                <a:latin typeface="Aptos Narrow" panose="020B0004020202020204" pitchFamily="34" charset="0"/>
              </a:rPr>
              <a:t>, </a:t>
            </a:r>
            <a:r>
              <a:rPr lang="en-ID" sz="1200" err="1">
                <a:solidFill>
                  <a:schemeClr val="tx1"/>
                </a:solidFill>
                <a:latin typeface="Aptos Narrow" panose="020B0004020202020204" pitchFamily="34" charset="0"/>
              </a:rPr>
              <a:t>NextJs</a:t>
            </a:r>
            <a:endParaRPr lang="en-ID" sz="1200">
              <a:solidFill>
                <a:schemeClr val="tx1"/>
              </a:solidFill>
              <a:latin typeface="Aptos Narrow" panose="020B0004020202020204" pitchFamily="34" charset="0"/>
            </a:endParaRPr>
          </a:p>
          <a:p>
            <a:r>
              <a:rPr lang="en-ID" sz="1200" err="1">
                <a:solidFill>
                  <a:schemeClr val="tx1"/>
                </a:solidFill>
                <a:latin typeface="Aptos Narrow" panose="020B0004020202020204" pitchFamily="34" charset="0"/>
              </a:rPr>
              <a:t>Libarary</a:t>
            </a:r>
            <a:r>
              <a:rPr lang="en-ID" sz="1200">
                <a:solidFill>
                  <a:schemeClr val="tx1"/>
                </a:solidFill>
                <a:latin typeface="Aptos Narrow" panose="020B0004020202020204" pitchFamily="34" charset="0"/>
              </a:rPr>
              <a:t>	: </a:t>
            </a:r>
            <a:r>
              <a:rPr lang="en-ID" sz="1200" err="1">
                <a:solidFill>
                  <a:schemeClr val="tx1"/>
                </a:solidFill>
                <a:latin typeface="Aptos Narrow" panose="020B0004020202020204" pitchFamily="34" charset="0"/>
              </a:rPr>
              <a:t>Shadcn</a:t>
            </a:r>
            <a:r>
              <a:rPr lang="en-ID" sz="1200">
                <a:solidFill>
                  <a:schemeClr val="tx1"/>
                </a:solidFill>
                <a:latin typeface="Aptos Narrow" panose="020B0004020202020204" pitchFamily="34" charset="0"/>
              </a:rPr>
              <a:t>, MUI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95E855F7-1198-46FE-7C2D-50B5489E67F7}"/>
              </a:ext>
            </a:extLst>
          </p:cNvPr>
          <p:cNvSpPr/>
          <p:nvPr/>
        </p:nvSpPr>
        <p:spPr>
          <a:xfrm>
            <a:off x="5444492" y="5049630"/>
            <a:ext cx="4393420" cy="930323"/>
          </a:xfrm>
          <a:prstGeom prst="roundRect">
            <a:avLst>
              <a:gd name="adj" fmla="val 0"/>
            </a:avLst>
          </a:prstGeom>
          <a:solidFill>
            <a:srgbClr val="E9EDF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 defTabSz="1079998">
              <a:buFont typeface="Arial" panose="020B0604020202020204" pitchFamily="34" charset="0"/>
              <a:buChar char="•"/>
              <a:defRPr/>
            </a:pPr>
            <a:r>
              <a:rPr lang="en-US" sz="1200" err="1">
                <a:solidFill>
                  <a:schemeClr val="tx1"/>
                </a:solidFill>
                <a:latin typeface="Aptos Narrow" panose="020B0004020202020204" pitchFamily="34" charset="0"/>
              </a:rPr>
              <a:t>Pengujian</a:t>
            </a:r>
            <a:r>
              <a:rPr lang="en-US" sz="1200">
                <a:solidFill>
                  <a:schemeClr val="tx1"/>
                </a:solidFill>
                <a:latin typeface="Aptos Narrow" panose="020B0004020202020204" pitchFamily="34" charset="0"/>
              </a:rPr>
              <a:t> </a:t>
            </a:r>
            <a:r>
              <a:rPr lang="en-US" sz="1200" err="1">
                <a:solidFill>
                  <a:schemeClr val="tx1"/>
                </a:solidFill>
                <a:latin typeface="Aptos Narrow" panose="020B0004020202020204" pitchFamily="34" charset="0"/>
              </a:rPr>
              <a:t>dilakukan</a:t>
            </a:r>
            <a:r>
              <a:rPr lang="en-US" sz="1200">
                <a:solidFill>
                  <a:schemeClr val="tx1"/>
                </a:solidFill>
                <a:latin typeface="Aptos Narrow" panose="020B0004020202020204" pitchFamily="34" charset="0"/>
              </a:rPr>
              <a:t> </a:t>
            </a:r>
            <a:r>
              <a:rPr lang="en-US" sz="1200" err="1">
                <a:solidFill>
                  <a:schemeClr val="tx1"/>
                </a:solidFill>
                <a:latin typeface="Aptos Narrow" panose="020B0004020202020204" pitchFamily="34" charset="0"/>
              </a:rPr>
              <a:t>secara</a:t>
            </a:r>
            <a:r>
              <a:rPr lang="en-US" sz="1200">
                <a:solidFill>
                  <a:schemeClr val="tx1"/>
                </a:solidFill>
                <a:latin typeface="Aptos Narrow" panose="020B0004020202020204" pitchFamily="34" charset="0"/>
              </a:rPr>
              <a:t> internal oleh Tim Inspeksi RU VII.</a:t>
            </a:r>
          </a:p>
          <a:p>
            <a:pPr marL="285750" indent="-285750" defTabSz="1079998">
              <a:buFont typeface="Arial" panose="020B0604020202020204" pitchFamily="34" charset="0"/>
              <a:buChar char="•"/>
              <a:defRPr/>
            </a:pPr>
            <a:r>
              <a:rPr lang="en-ID" sz="1200">
                <a:solidFill>
                  <a:schemeClr val="tx1"/>
                </a:solidFill>
                <a:latin typeface="Aptos Narrow" panose="020B0004020202020204" pitchFamily="34" charset="0"/>
              </a:rPr>
              <a:t>QA Manual</a:t>
            </a:r>
            <a:endParaRPr lang="en-US" sz="1200">
              <a:solidFill>
                <a:schemeClr val="tx1"/>
              </a:solidFill>
              <a:latin typeface="Aptos Narrow" panose="020B0004020202020204" pitchFamily="34" charset="0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EAD6CD6B-087A-E847-FB4C-77DB54EDD43B}"/>
              </a:ext>
            </a:extLst>
          </p:cNvPr>
          <p:cNvGrpSpPr/>
          <p:nvPr/>
        </p:nvGrpSpPr>
        <p:grpSpPr>
          <a:xfrm>
            <a:off x="5398687" y="4770134"/>
            <a:ext cx="4439226" cy="297561"/>
            <a:chOff x="6471175" y="1036663"/>
            <a:chExt cx="5372132" cy="297561"/>
          </a:xfrm>
        </p:grpSpPr>
        <p:sp>
          <p:nvSpPr>
            <p:cNvPr id="9" name="Title 1">
              <a:extLst>
                <a:ext uri="{FF2B5EF4-FFF2-40B4-BE49-F238E27FC236}">
                  <a16:creationId xmlns:a16="http://schemas.microsoft.com/office/drawing/2014/main" id="{5C081D08-562C-C66D-FD49-B8FCBEB7D8E1}"/>
                </a:ext>
              </a:extLst>
            </p:cNvPr>
            <p:cNvSpPr txBox="1">
              <a:spLocks/>
            </p:cNvSpPr>
            <p:nvPr/>
          </p:nvSpPr>
          <p:spPr>
            <a:xfrm>
              <a:off x="6532362" y="1036663"/>
              <a:ext cx="5310945" cy="267796"/>
            </a:xfrm>
            <a:prstGeom prst="rect">
              <a:avLst/>
            </a:prstGeom>
            <a:solidFill>
              <a:srgbClr val="ED7D31"/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horz" anchor="ctr"/>
            <a:lstStyle>
              <a:defPPr>
                <a:defRPr lang="en-US"/>
              </a:defPPr>
              <a:lvl1pPr marL="0"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800" b="1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200" err="1">
                  <a:latin typeface="Aptos Narrow" panose="020B0004020202020204" pitchFamily="34" charset="0"/>
                  <a:cs typeface="Calibri" panose="020F0502020204030204" pitchFamily="34" charset="0"/>
                </a:rPr>
                <a:t>Rencana</a:t>
              </a:r>
              <a:r>
                <a:rPr lang="en-US" sz="1200">
                  <a:latin typeface="Aptos Narrow" panose="020B0004020202020204" pitchFamily="34" charset="0"/>
                  <a:cs typeface="Calibri" panose="020F0502020204030204" pitchFamily="34" charset="0"/>
                </a:rPr>
                <a:t> </a:t>
              </a:r>
              <a:r>
                <a:rPr lang="en-US" sz="1200" err="1">
                  <a:latin typeface="Aptos Narrow" panose="020B0004020202020204" pitchFamily="34" charset="0"/>
                  <a:cs typeface="Calibri" panose="020F0502020204030204" pitchFamily="34" charset="0"/>
                </a:rPr>
                <a:t>Pembuatan</a:t>
              </a:r>
              <a:r>
                <a:rPr lang="en-US" sz="1200">
                  <a:latin typeface="Aptos Narrow" panose="020B0004020202020204" pitchFamily="34" charset="0"/>
                  <a:cs typeface="Calibri" panose="020F0502020204030204" pitchFamily="34" charset="0"/>
                </a:rPr>
                <a:t> Metode/System/</a:t>
              </a:r>
              <a:r>
                <a:rPr lang="en-US" sz="1200" err="1">
                  <a:latin typeface="Aptos Narrow" panose="020B0004020202020204" pitchFamily="34" charset="0"/>
                  <a:cs typeface="Calibri" panose="020F0502020204030204" pitchFamily="34" charset="0"/>
                </a:rPr>
                <a:t>Fabrikasi</a:t>
              </a:r>
              <a:r>
                <a:rPr lang="en-US" sz="1200">
                  <a:latin typeface="Aptos Narrow" panose="020B0004020202020204" pitchFamily="34" charset="0"/>
                  <a:cs typeface="Calibri" panose="020F0502020204030204" pitchFamily="34" charset="0"/>
                </a:rPr>
                <a:t> Alat</a:t>
              </a:r>
            </a:p>
          </p:txBody>
        </p:sp>
        <p:sp>
          <p:nvSpPr>
            <p:cNvPr id="10" name="Flowchart: Connector 9">
              <a:extLst>
                <a:ext uri="{FF2B5EF4-FFF2-40B4-BE49-F238E27FC236}">
                  <a16:creationId xmlns:a16="http://schemas.microsoft.com/office/drawing/2014/main" id="{3C92A9DC-4867-0B74-7049-EACB413AB7D8}"/>
                </a:ext>
              </a:extLst>
            </p:cNvPr>
            <p:cNvSpPr/>
            <p:nvPr/>
          </p:nvSpPr>
          <p:spPr>
            <a:xfrm>
              <a:off x="6471175" y="1238798"/>
              <a:ext cx="108750" cy="95426"/>
            </a:xfrm>
            <a:prstGeom prst="flowChartConnector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style>
            <a:lnRef idx="2">
              <a:schemeClr val="accent3">
                <a:shade val="15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ID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10189221-7C5C-2B4F-F07D-C9E8480DCEC0}"/>
              </a:ext>
            </a:extLst>
          </p:cNvPr>
          <p:cNvGrpSpPr/>
          <p:nvPr/>
        </p:nvGrpSpPr>
        <p:grpSpPr>
          <a:xfrm>
            <a:off x="0" y="-6002"/>
            <a:ext cx="1439008" cy="463236"/>
            <a:chOff x="93023" y="-6002"/>
            <a:chExt cx="1439008" cy="463236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8F2271E6-17B3-94E2-8332-B6D912D991B5}"/>
                </a:ext>
              </a:extLst>
            </p:cNvPr>
            <p:cNvGrpSpPr/>
            <p:nvPr/>
          </p:nvGrpSpPr>
          <p:grpSpPr>
            <a:xfrm>
              <a:off x="93023" y="-6002"/>
              <a:ext cx="1439008" cy="463236"/>
              <a:chOff x="6171866" y="126174"/>
              <a:chExt cx="1126238" cy="369332"/>
            </a:xfrm>
          </p:grpSpPr>
          <p:pic>
            <p:nvPicPr>
              <p:cNvPr id="21" name="Picture 20">
                <a:extLst>
                  <a:ext uri="{FF2B5EF4-FFF2-40B4-BE49-F238E27FC236}">
                    <a16:creationId xmlns:a16="http://schemas.microsoft.com/office/drawing/2014/main" id="{64A8DDFA-814C-6B80-5925-3A002043F7C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74148" b="84200"/>
              <a:stretch/>
            </p:blipFill>
            <p:spPr>
              <a:xfrm flipH="1">
                <a:off x="6171866" y="126174"/>
                <a:ext cx="1126238" cy="369332"/>
              </a:xfrm>
              <a:prstGeom prst="rect">
                <a:avLst/>
              </a:prstGeom>
              <a:effectLst>
                <a:outerShdw blurRad="50800" dist="38100" dir="8100000" algn="tr" rotWithShape="0">
                  <a:prstClr val="black">
                    <a:alpha val="40000"/>
                  </a:prstClr>
                </a:outerShdw>
              </a:effectLst>
            </p:spPr>
          </p:pic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0A855AFA-FEB5-AB97-C8A1-31E66C4BBBE5}"/>
                  </a:ext>
                </a:extLst>
              </p:cNvPr>
              <p:cNvSpPr/>
              <p:nvPr/>
            </p:nvSpPr>
            <p:spPr>
              <a:xfrm>
                <a:off x="6271117" y="143647"/>
                <a:ext cx="771525" cy="23857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/>
              </a:p>
            </p:txBody>
          </p:sp>
        </p:grpSp>
        <p:pic>
          <p:nvPicPr>
            <p:cNvPr id="20" name="Picture 19" descr="A black background with a black square&#10;&#10;AI-generated content may be incorrect.">
              <a:extLst>
                <a:ext uri="{FF2B5EF4-FFF2-40B4-BE49-F238E27FC236}">
                  <a16:creationId xmlns:a16="http://schemas.microsoft.com/office/drawing/2014/main" id="{DACFB36D-9EE8-7E31-3269-8B7D8B5A14A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9837" y="48823"/>
              <a:ext cx="934769" cy="233412"/>
            </a:xfrm>
            <a:prstGeom prst="rect">
              <a:avLst/>
            </a:prstGeom>
          </p:spPr>
        </p:pic>
      </p:grp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905F0696-31F0-90CB-E3B2-89C333D4E566}"/>
              </a:ext>
            </a:extLst>
          </p:cNvPr>
          <p:cNvSpPr/>
          <p:nvPr/>
        </p:nvSpPr>
        <p:spPr>
          <a:xfrm>
            <a:off x="7886701" y="2330462"/>
            <a:ext cx="2306781" cy="1265735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err="1"/>
              <a:t>Terdapat</a:t>
            </a:r>
            <a:r>
              <a:rPr lang="en-US" sz="1600" dirty="0"/>
              <a:t> 7 </a:t>
            </a:r>
            <a:r>
              <a:rPr lang="en-US" sz="1600" dirty="0" err="1"/>
              <a:t>fitur</a:t>
            </a:r>
            <a:r>
              <a:rPr lang="en-US" sz="1600" dirty="0"/>
              <a:t> </a:t>
            </a:r>
            <a:r>
              <a:rPr lang="en-US" sz="1600" dirty="0" err="1"/>
              <a:t>utama</a:t>
            </a:r>
            <a:r>
              <a:rPr lang="en-US" sz="1600" dirty="0"/>
              <a:t> pada </a:t>
            </a:r>
            <a:r>
              <a:rPr lang="en-US" sz="1600" dirty="0" err="1"/>
              <a:t>aplikasi</a:t>
            </a:r>
            <a:r>
              <a:rPr lang="en-US" sz="1600" dirty="0"/>
              <a:t> </a:t>
            </a:r>
            <a:r>
              <a:rPr lang="en-US" sz="1600" dirty="0" err="1"/>
              <a:t>idms</a:t>
            </a:r>
            <a:r>
              <a:rPr lang="en-US" sz="1600" dirty="0"/>
              <a:t> dan </a:t>
            </a:r>
            <a:r>
              <a:rPr lang="en-US" sz="1600" dirty="0" err="1"/>
              <a:t>terus</a:t>
            </a:r>
            <a:r>
              <a:rPr lang="en-US" sz="1600" dirty="0"/>
              <a:t> </a:t>
            </a:r>
            <a:r>
              <a:rPr lang="en-US" sz="1600" dirty="0" err="1"/>
              <a:t>mengalami</a:t>
            </a:r>
            <a:r>
              <a:rPr lang="en-US" sz="1600" dirty="0"/>
              <a:t> </a:t>
            </a:r>
            <a:r>
              <a:rPr lang="en-US" sz="1600" dirty="0" err="1"/>
              <a:t>pengembangan</a:t>
            </a:r>
            <a:r>
              <a:rPr lang="en-US" sz="1600" dirty="0"/>
              <a:t> </a:t>
            </a:r>
            <a:r>
              <a:rPr lang="en-US" sz="1600" dirty="0" err="1"/>
              <a:t>hingga</a:t>
            </a:r>
            <a:r>
              <a:rPr lang="en-US" sz="1600" dirty="0"/>
              <a:t> </a:t>
            </a:r>
            <a:r>
              <a:rPr lang="en-US" sz="1600" dirty="0" err="1"/>
              <a:t>saat</a:t>
            </a:r>
            <a:r>
              <a:rPr lang="en-US" sz="1600" dirty="0"/>
              <a:t> </a:t>
            </a:r>
            <a:r>
              <a:rPr lang="en-US" sz="1600" dirty="0" err="1"/>
              <a:t>ini</a:t>
            </a:r>
            <a:endParaRPr lang="en-ID" sz="1600" b="1" i="1" dirty="0"/>
          </a:p>
        </p:txBody>
      </p:sp>
      <p:pic>
        <p:nvPicPr>
          <p:cNvPr id="24" name="Picture 23" descr="A black screen with white text&#10;&#10;Description automatically generated">
            <a:extLst>
              <a:ext uri="{FF2B5EF4-FFF2-40B4-BE49-F238E27FC236}">
                <a16:creationId xmlns:a16="http://schemas.microsoft.com/office/drawing/2014/main" id="{F568F9CB-4262-2F94-4FD9-3DABF1F81665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726" t="87519"/>
          <a:stretch/>
        </p:blipFill>
        <p:spPr>
          <a:xfrm>
            <a:off x="11584425" y="6477417"/>
            <a:ext cx="607574" cy="378163"/>
          </a:xfrm>
          <a:prstGeom prst="rect">
            <a:avLst/>
          </a:prstGeom>
        </p:spPr>
      </p:pic>
      <p:pic>
        <p:nvPicPr>
          <p:cNvPr id="25" name="Picture 24" descr="A black screen with white text&#10;&#10;Description automatically generated">
            <a:extLst>
              <a:ext uri="{FF2B5EF4-FFF2-40B4-BE49-F238E27FC236}">
                <a16:creationId xmlns:a16="http://schemas.microsoft.com/office/drawing/2014/main" id="{F0A4DCC5-641F-E946-DD22-7AF4DB21FB6B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311" r="78841"/>
          <a:stretch/>
        </p:blipFill>
        <p:spPr>
          <a:xfrm>
            <a:off x="0" y="6478090"/>
            <a:ext cx="1425463" cy="388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29219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5C6BCfkEk27FgLicZK0p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7gIfWzMw40JnkEluOWTq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7gIfWzMw40JnkEluOWTq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FRgltuA5Gk9WnQFzxui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19Q.VRijJtaV5nzJZYG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FRgltuA5Gk9WnQFzxui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T2LYBnYQ2n1_gaeijAZ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19Q.VRijJtaV5nzJZYG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5C6BCfkEk27FgLicZK0p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7gIfWzMw40JnkEluOWTq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7gIfWzMw40JnkEluOWTq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FRgltuA5Gk9WnQFzxui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FRgltuA5Gk9WnQFzxui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T2LYBnYQ2n1_gaeijAZ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heme/theme1.xml><?xml version="1.0" encoding="utf-8"?>
<a:theme xmlns:a="http://schemas.openxmlformats.org/drawingml/2006/main" name="1_Office Theme">
  <a:themeElements>
    <a:clrScheme name="Orange">
      <a:dk1>
        <a:srgbClr val="000000"/>
      </a:dk1>
      <a:lt1>
        <a:sysClr val="window" lastClr="FFFFFF"/>
      </a:lt1>
      <a:dk2>
        <a:srgbClr val="637052"/>
      </a:dk2>
      <a:lt2>
        <a:srgbClr val="CCDDEA"/>
      </a:lt2>
      <a:accent1>
        <a:srgbClr val="E48312"/>
      </a:accent1>
      <a:accent2>
        <a:srgbClr val="BD582C"/>
      </a:accent2>
      <a:accent3>
        <a:srgbClr val="865640"/>
      </a:accent3>
      <a:accent4>
        <a:srgbClr val="9B8357"/>
      </a:accent4>
      <a:accent5>
        <a:srgbClr val="C2BC80"/>
      </a:accent5>
      <a:accent6>
        <a:srgbClr val="94A088"/>
      </a:accent6>
      <a:hlink>
        <a:srgbClr val="2998E3"/>
      </a:hlink>
      <a:folHlink>
        <a:srgbClr val="8C8C8C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9_PERTAMINA_CF_PRD085">
  <a:themeElements>
    <a:clrScheme name="Current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0000"/>
      </a:accent5>
      <a:accent6>
        <a:srgbClr val="808080"/>
      </a:accent6>
      <a:hlink>
        <a:srgbClr val="0066CC"/>
      </a:hlink>
      <a:folHlink>
        <a:srgbClr val="00296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rrent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00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0_PERTAMINA_CF_PRD085">
  <a:themeElements>
    <a:clrScheme name="Current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0000"/>
      </a:accent5>
      <a:accent6>
        <a:srgbClr val="808080"/>
      </a:accent6>
      <a:hlink>
        <a:srgbClr val="0066CC"/>
      </a:hlink>
      <a:folHlink>
        <a:srgbClr val="00296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rrent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00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757</TotalTime>
  <Words>2056</Words>
  <Application>Microsoft Office PowerPoint</Application>
  <PresentationFormat>Widescreen</PresentationFormat>
  <Paragraphs>479</Paragraphs>
  <Slides>20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35" baseType="lpstr">
      <vt:lpstr>ＭＳ Ｐゴシック</vt:lpstr>
      <vt:lpstr>Aptos</vt:lpstr>
      <vt:lpstr>Aptos Narrow</vt:lpstr>
      <vt:lpstr>Arial</vt:lpstr>
      <vt:lpstr>Calibri</vt:lpstr>
      <vt:lpstr>FUTURA MEDIUM</vt:lpstr>
      <vt:lpstr>FUTURA MEDIUM</vt:lpstr>
      <vt:lpstr>Poppins SemiBold</vt:lpstr>
      <vt:lpstr>Tahoma</vt:lpstr>
      <vt:lpstr>Times New Roman</vt:lpstr>
      <vt:lpstr>Tw Cen MT</vt:lpstr>
      <vt:lpstr>1_Office Theme</vt:lpstr>
      <vt:lpstr>9_PERTAMINA_CF_PRD085</vt:lpstr>
      <vt:lpstr>10_PERTAMINA_CF_PRD085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Ika Rosadevi</dc:creator>
  <cp:lastModifiedBy>Inspeksi RU 7</cp:lastModifiedBy>
  <cp:revision>73</cp:revision>
  <dcterms:created xsi:type="dcterms:W3CDTF">2024-08-19T13:50:37Z</dcterms:created>
  <dcterms:modified xsi:type="dcterms:W3CDTF">2025-10-23T14:00:30Z</dcterms:modified>
</cp:coreProperties>
</file>